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57" r:id="rId3"/>
    <p:sldId id="258" r:id="rId4"/>
    <p:sldId id="259" r:id="rId5"/>
    <p:sldId id="261" r:id="rId6"/>
    <p:sldId id="260" r:id="rId7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E7016DF-8D33-4E40-A897-16C9D0684BD8}">
          <p14:sldIdLst>
            <p14:sldId id="256"/>
            <p14:sldId id="257"/>
            <p14:sldId id="258"/>
            <p14:sldId id="259"/>
            <p14:sldId id="261"/>
            <p14:sldId id="26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75" autoAdjust="0"/>
    <p:restoredTop sz="94660"/>
  </p:normalViewPr>
  <p:slideViewPr>
    <p:cSldViewPr snapToGrid="0">
      <p:cViewPr varScale="1">
        <p:scale>
          <a:sx n="85" d="100"/>
          <a:sy n="85" d="100"/>
        </p:scale>
        <p:origin x="499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" name="Group 88"/>
          <p:cNvGrpSpPr/>
          <p:nvPr/>
        </p:nvGrpSpPr>
        <p:grpSpPr>
          <a:xfrm>
            <a:off x="-329674" y="-59376"/>
            <a:ext cx="12515851" cy="6923798"/>
            <a:chOff x="-329674" y="-51881"/>
            <a:chExt cx="12515851" cy="6923798"/>
          </a:xfrm>
        </p:grpSpPr>
        <p:sp>
          <p:nvSpPr>
            <p:cNvPr id="90" name="Freeform 5"/>
            <p:cNvSpPr/>
            <p:nvPr/>
          </p:nvSpPr>
          <p:spPr bwMode="auto">
            <a:xfrm>
              <a:off x="-329674" y="1298404"/>
              <a:ext cx="9702800" cy="5573512"/>
            </a:xfrm>
            <a:custGeom>
              <a:avLst/>
              <a:gdLst/>
              <a:ahLst/>
              <a:cxnLst/>
              <a:rect l="0" t="0" r="r" b="b"/>
              <a:pathLst>
                <a:path w="2038" h="1169">
                  <a:moveTo>
                    <a:pt x="1752" y="1169"/>
                  </a:moveTo>
                  <a:cubicBezTo>
                    <a:pt x="2038" y="928"/>
                    <a:pt x="1673" y="513"/>
                    <a:pt x="1487" y="334"/>
                  </a:cubicBezTo>
                  <a:cubicBezTo>
                    <a:pt x="1316" y="170"/>
                    <a:pt x="1099" y="43"/>
                    <a:pt x="860" y="22"/>
                  </a:cubicBezTo>
                  <a:cubicBezTo>
                    <a:pt x="621" y="0"/>
                    <a:pt x="341" y="128"/>
                    <a:pt x="199" y="318"/>
                  </a:cubicBezTo>
                  <a:cubicBezTo>
                    <a:pt x="0" y="586"/>
                    <a:pt x="184" y="965"/>
                    <a:pt x="399" y="1165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1" name="Freeform 6"/>
            <p:cNvSpPr/>
            <p:nvPr/>
          </p:nvSpPr>
          <p:spPr bwMode="auto">
            <a:xfrm>
              <a:off x="670451" y="2018236"/>
              <a:ext cx="7373938" cy="4848892"/>
            </a:xfrm>
            <a:custGeom>
              <a:avLst/>
              <a:gdLst/>
              <a:ahLst/>
              <a:cxnLst/>
              <a:rect l="0" t="0" r="r" b="b"/>
              <a:pathLst>
                <a:path w="1549" h="1017">
                  <a:moveTo>
                    <a:pt x="1025" y="1016"/>
                  </a:moveTo>
                  <a:cubicBezTo>
                    <a:pt x="1223" y="971"/>
                    <a:pt x="1549" y="857"/>
                    <a:pt x="1443" y="592"/>
                  </a:cubicBezTo>
                  <a:cubicBezTo>
                    <a:pt x="1344" y="344"/>
                    <a:pt x="1041" y="111"/>
                    <a:pt x="782" y="53"/>
                  </a:cubicBezTo>
                  <a:cubicBezTo>
                    <a:pt x="545" y="0"/>
                    <a:pt x="275" y="117"/>
                    <a:pt x="150" y="329"/>
                  </a:cubicBezTo>
                  <a:cubicBezTo>
                    <a:pt x="0" y="584"/>
                    <a:pt x="243" y="911"/>
                    <a:pt x="477" y="1017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2" name="Freeform 7"/>
            <p:cNvSpPr/>
            <p:nvPr/>
          </p:nvSpPr>
          <p:spPr bwMode="auto">
            <a:xfrm>
              <a:off x="251351" y="1788400"/>
              <a:ext cx="8035925" cy="5083516"/>
            </a:xfrm>
            <a:custGeom>
              <a:avLst/>
              <a:gdLst/>
              <a:ahLst/>
              <a:cxnLst/>
              <a:rect l="0" t="0" r="r" b="b"/>
              <a:pathLst>
                <a:path w="1688" h="1066">
                  <a:moveTo>
                    <a:pt x="1302" y="1066"/>
                  </a:moveTo>
                  <a:cubicBezTo>
                    <a:pt x="1416" y="1024"/>
                    <a:pt x="1551" y="962"/>
                    <a:pt x="1613" y="850"/>
                  </a:cubicBezTo>
                  <a:cubicBezTo>
                    <a:pt x="1688" y="715"/>
                    <a:pt x="1606" y="575"/>
                    <a:pt x="1517" y="471"/>
                  </a:cubicBezTo>
                  <a:cubicBezTo>
                    <a:pt x="1336" y="258"/>
                    <a:pt x="1084" y="62"/>
                    <a:pt x="798" y="28"/>
                  </a:cubicBezTo>
                  <a:cubicBezTo>
                    <a:pt x="559" y="0"/>
                    <a:pt x="317" y="138"/>
                    <a:pt x="181" y="333"/>
                  </a:cubicBezTo>
                  <a:cubicBezTo>
                    <a:pt x="0" y="592"/>
                    <a:pt x="191" y="907"/>
                    <a:pt x="420" y="1066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3" name="Freeform 8"/>
            <p:cNvSpPr/>
            <p:nvPr/>
          </p:nvSpPr>
          <p:spPr bwMode="auto">
            <a:xfrm>
              <a:off x="-1061" y="549842"/>
              <a:ext cx="10334625" cy="6322075"/>
            </a:xfrm>
            <a:custGeom>
              <a:avLst/>
              <a:gdLst/>
              <a:ahLst/>
              <a:cxnLst/>
              <a:rect l="0" t="0" r="r" b="b"/>
              <a:pathLst>
                <a:path w="2171" h="1326">
                  <a:moveTo>
                    <a:pt x="1873" y="1326"/>
                  </a:moveTo>
                  <a:cubicBezTo>
                    <a:pt x="2171" y="1045"/>
                    <a:pt x="1825" y="678"/>
                    <a:pt x="1609" y="473"/>
                  </a:cubicBezTo>
                  <a:cubicBezTo>
                    <a:pt x="1406" y="281"/>
                    <a:pt x="1159" y="116"/>
                    <a:pt x="880" y="63"/>
                  </a:cubicBezTo>
                  <a:cubicBezTo>
                    <a:pt x="545" y="0"/>
                    <a:pt x="214" y="161"/>
                    <a:pt x="0" y="42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4" name="Freeform 9"/>
            <p:cNvSpPr/>
            <p:nvPr/>
          </p:nvSpPr>
          <p:spPr bwMode="auto">
            <a:xfrm>
              <a:off x="3701" y="6186246"/>
              <a:ext cx="504825" cy="681527"/>
            </a:xfrm>
            <a:custGeom>
              <a:avLst/>
              <a:gdLst/>
              <a:ahLst/>
              <a:cxnLst/>
              <a:rect l="0" t="0" r="r" b="b"/>
              <a:pathLst>
                <a:path w="106" h="143">
                  <a:moveTo>
                    <a:pt x="0" y="0"/>
                  </a:moveTo>
                  <a:cubicBezTo>
                    <a:pt x="35" y="54"/>
                    <a:pt x="70" y="101"/>
                    <a:pt x="106" y="143"/>
                  </a:cubicBezTo>
                </a:path>
              </a:pathLst>
            </a:custGeom>
            <a:noFill/>
            <a:ln w="4763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5" name="Freeform 10"/>
            <p:cNvSpPr/>
            <p:nvPr/>
          </p:nvSpPr>
          <p:spPr bwMode="auto">
            <a:xfrm>
              <a:off x="-1061" y="-51881"/>
              <a:ext cx="11091863" cy="6923796"/>
            </a:xfrm>
            <a:custGeom>
              <a:avLst/>
              <a:gdLst/>
              <a:ahLst/>
              <a:cxnLst/>
              <a:rect l="0" t="0" r="r" b="b"/>
              <a:pathLst>
                <a:path w="2330" h="1452">
                  <a:moveTo>
                    <a:pt x="2046" y="1452"/>
                  </a:moveTo>
                  <a:cubicBezTo>
                    <a:pt x="2330" y="1153"/>
                    <a:pt x="2049" y="821"/>
                    <a:pt x="1813" y="601"/>
                  </a:cubicBezTo>
                  <a:cubicBezTo>
                    <a:pt x="1569" y="375"/>
                    <a:pt x="1282" y="179"/>
                    <a:pt x="956" y="97"/>
                  </a:cubicBezTo>
                  <a:cubicBezTo>
                    <a:pt x="572" y="0"/>
                    <a:pt x="292" y="101"/>
                    <a:pt x="0" y="366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6" name="Freeform 11"/>
            <p:cNvSpPr/>
            <p:nvPr/>
          </p:nvSpPr>
          <p:spPr bwMode="auto">
            <a:xfrm>
              <a:off x="5426601" y="5579"/>
              <a:ext cx="5788025" cy="6847184"/>
            </a:xfrm>
            <a:custGeom>
              <a:avLst/>
              <a:gdLst/>
              <a:ahLst/>
              <a:cxnLst/>
              <a:rect l="0" t="0" r="r" b="b"/>
              <a:pathLst>
                <a:path w="1216" h="1436">
                  <a:moveTo>
                    <a:pt x="1094" y="1436"/>
                  </a:moveTo>
                  <a:cubicBezTo>
                    <a:pt x="1216" y="1114"/>
                    <a:pt x="904" y="770"/>
                    <a:pt x="709" y="551"/>
                  </a:cubicBezTo>
                  <a:cubicBezTo>
                    <a:pt x="509" y="327"/>
                    <a:pt x="274" y="127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7" name="Freeform 12"/>
            <p:cNvSpPr/>
            <p:nvPr/>
          </p:nvSpPr>
          <p:spPr bwMode="auto">
            <a:xfrm>
              <a:off x="-1061" y="5579"/>
              <a:ext cx="1057275" cy="614491"/>
            </a:xfrm>
            <a:custGeom>
              <a:avLst/>
              <a:gdLst/>
              <a:ahLst/>
              <a:cxnLst/>
              <a:rect l="0" t="0" r="r" b="b"/>
              <a:pathLst>
                <a:path w="222" h="129">
                  <a:moveTo>
                    <a:pt x="222" y="0"/>
                  </a:moveTo>
                  <a:cubicBezTo>
                    <a:pt x="152" y="35"/>
                    <a:pt x="76" y="78"/>
                    <a:pt x="0" y="12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8" name="Freeform 13"/>
            <p:cNvSpPr/>
            <p:nvPr/>
          </p:nvSpPr>
          <p:spPr bwMode="auto">
            <a:xfrm>
              <a:off x="5821889" y="5579"/>
              <a:ext cx="5588000" cy="6866337"/>
            </a:xfrm>
            <a:custGeom>
              <a:avLst/>
              <a:gdLst/>
              <a:ahLst/>
              <a:cxnLst/>
              <a:rect l="0" t="0" r="r" b="b"/>
              <a:pathLst>
                <a:path w="1174" h="1440">
                  <a:moveTo>
                    <a:pt x="1067" y="1440"/>
                  </a:moveTo>
                  <a:cubicBezTo>
                    <a:pt x="1174" y="1124"/>
                    <a:pt x="887" y="797"/>
                    <a:pt x="698" y="577"/>
                  </a:cubicBezTo>
                  <a:cubicBezTo>
                    <a:pt x="500" y="348"/>
                    <a:pt x="270" y="14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9" name="Freeform 14"/>
            <p:cNvSpPr/>
            <p:nvPr/>
          </p:nvSpPr>
          <p:spPr bwMode="auto">
            <a:xfrm>
              <a:off x="3701" y="790"/>
              <a:ext cx="595313" cy="352734"/>
            </a:xfrm>
            <a:custGeom>
              <a:avLst/>
              <a:gdLst/>
              <a:ahLst/>
              <a:cxnLst/>
              <a:rect l="0" t="0" r="r" b="b"/>
              <a:pathLst>
                <a:path w="125" h="74">
                  <a:moveTo>
                    <a:pt x="125" y="0"/>
                  </a:moveTo>
                  <a:cubicBezTo>
                    <a:pt x="85" y="22"/>
                    <a:pt x="43" y="47"/>
                    <a:pt x="0" y="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0" name="Freeform 15"/>
            <p:cNvSpPr/>
            <p:nvPr/>
          </p:nvSpPr>
          <p:spPr bwMode="auto">
            <a:xfrm>
              <a:off x="6012389" y="5579"/>
              <a:ext cx="5497513" cy="6866337"/>
            </a:xfrm>
            <a:custGeom>
              <a:avLst/>
              <a:gdLst/>
              <a:ahLst/>
              <a:cxnLst/>
              <a:rect l="0" t="0" r="r" b="b"/>
              <a:pathLst>
                <a:path w="1155" h="1440">
                  <a:moveTo>
                    <a:pt x="1056" y="1440"/>
                  </a:moveTo>
                  <a:cubicBezTo>
                    <a:pt x="1155" y="1123"/>
                    <a:pt x="875" y="801"/>
                    <a:pt x="686" y="580"/>
                  </a:cubicBezTo>
                  <a:cubicBezTo>
                    <a:pt x="491" y="352"/>
                    <a:pt x="264" y="145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1" name="Freeform 16"/>
            <p:cNvSpPr/>
            <p:nvPr/>
          </p:nvSpPr>
          <p:spPr bwMode="auto">
            <a:xfrm>
              <a:off x="-1061" y="5579"/>
              <a:ext cx="357188" cy="213875"/>
            </a:xfrm>
            <a:custGeom>
              <a:avLst/>
              <a:gdLst/>
              <a:ahLst/>
              <a:cxnLst/>
              <a:rect l="0" t="0" r="r" b="b"/>
              <a:pathLst>
                <a:path w="75" h="45">
                  <a:moveTo>
                    <a:pt x="75" y="0"/>
                  </a:moveTo>
                  <a:cubicBezTo>
                    <a:pt x="50" y="14"/>
                    <a:pt x="25" y="29"/>
                    <a:pt x="0" y="45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2" name="Freeform 17"/>
            <p:cNvSpPr/>
            <p:nvPr/>
          </p:nvSpPr>
          <p:spPr bwMode="auto">
            <a:xfrm>
              <a:off x="6210826" y="790"/>
              <a:ext cx="5522913" cy="6871126"/>
            </a:xfrm>
            <a:custGeom>
              <a:avLst/>
              <a:gdLst/>
              <a:ahLst/>
              <a:cxnLst/>
              <a:rect l="0" t="0" r="r" b="b"/>
              <a:pathLst>
                <a:path w="1160" h="1441">
                  <a:moveTo>
                    <a:pt x="1053" y="1441"/>
                  </a:moveTo>
                  <a:cubicBezTo>
                    <a:pt x="1160" y="1129"/>
                    <a:pt x="892" y="817"/>
                    <a:pt x="705" y="599"/>
                  </a:cubicBezTo>
                  <a:cubicBezTo>
                    <a:pt x="503" y="365"/>
                    <a:pt x="270" y="152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3" name="Freeform 18"/>
            <p:cNvSpPr/>
            <p:nvPr/>
          </p:nvSpPr>
          <p:spPr bwMode="auto">
            <a:xfrm>
              <a:off x="6463239" y="5579"/>
              <a:ext cx="5413375" cy="6866337"/>
            </a:xfrm>
            <a:custGeom>
              <a:avLst/>
              <a:gdLst/>
              <a:ahLst/>
              <a:cxnLst/>
              <a:rect l="0" t="0" r="r" b="b"/>
              <a:pathLst>
                <a:path w="1137" h="1440">
                  <a:moveTo>
                    <a:pt x="1040" y="1440"/>
                  </a:moveTo>
                  <a:cubicBezTo>
                    <a:pt x="1137" y="1131"/>
                    <a:pt x="883" y="828"/>
                    <a:pt x="698" y="611"/>
                  </a:cubicBezTo>
                  <a:cubicBezTo>
                    <a:pt x="498" y="375"/>
                    <a:pt x="268" y="159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4" name="Freeform 19"/>
            <p:cNvSpPr/>
            <p:nvPr/>
          </p:nvSpPr>
          <p:spPr bwMode="auto">
            <a:xfrm>
              <a:off x="6877576" y="5579"/>
              <a:ext cx="5037138" cy="6861550"/>
            </a:xfrm>
            <a:custGeom>
              <a:avLst/>
              <a:gdLst/>
              <a:ahLst/>
              <a:cxnLst/>
              <a:rect l="0" t="0" r="r" b="b"/>
              <a:pathLst>
                <a:path w="1058" h="1439">
                  <a:moveTo>
                    <a:pt x="1011" y="1439"/>
                  </a:moveTo>
                  <a:cubicBezTo>
                    <a:pt x="1058" y="1131"/>
                    <a:pt x="825" y="841"/>
                    <a:pt x="648" y="617"/>
                  </a:cubicBezTo>
                  <a:cubicBezTo>
                    <a:pt x="462" y="383"/>
                    <a:pt x="248" y="16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5" name="Freeform 20"/>
            <p:cNvSpPr/>
            <p:nvPr/>
          </p:nvSpPr>
          <p:spPr bwMode="auto">
            <a:xfrm>
              <a:off x="8768289" y="5579"/>
              <a:ext cx="3417888" cy="2742066"/>
            </a:xfrm>
            <a:custGeom>
              <a:avLst/>
              <a:gdLst/>
              <a:ahLst/>
              <a:cxnLst/>
              <a:rect l="0" t="0" r="r" b="b"/>
              <a:pathLst>
                <a:path w="718" h="575">
                  <a:moveTo>
                    <a:pt x="718" y="575"/>
                  </a:moveTo>
                  <a:cubicBezTo>
                    <a:pt x="500" y="360"/>
                    <a:pt x="260" y="163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6" name="Freeform 21"/>
            <p:cNvSpPr/>
            <p:nvPr/>
          </p:nvSpPr>
          <p:spPr bwMode="auto">
            <a:xfrm>
              <a:off x="9235014" y="10367"/>
              <a:ext cx="2951163" cy="2555325"/>
            </a:xfrm>
            <a:custGeom>
              <a:avLst/>
              <a:gdLst/>
              <a:ahLst/>
              <a:cxnLst/>
              <a:rect l="0" t="0" r="r" b="b"/>
              <a:pathLst>
                <a:path w="620" h="536">
                  <a:moveTo>
                    <a:pt x="620" y="536"/>
                  </a:moveTo>
                  <a:cubicBezTo>
                    <a:pt x="404" y="314"/>
                    <a:pt x="196" y="13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7" name="Freeform 22"/>
            <p:cNvSpPr/>
            <p:nvPr/>
          </p:nvSpPr>
          <p:spPr bwMode="auto">
            <a:xfrm>
              <a:off x="10020826" y="5579"/>
              <a:ext cx="2165350" cy="1358265"/>
            </a:xfrm>
            <a:custGeom>
              <a:avLst/>
              <a:gdLst/>
              <a:ahLst/>
              <a:cxnLst/>
              <a:rect l="0" t="0" r="r" b="b"/>
              <a:pathLst>
                <a:path w="455" h="285">
                  <a:moveTo>
                    <a:pt x="0" y="0"/>
                  </a:moveTo>
                  <a:cubicBezTo>
                    <a:pt x="153" y="85"/>
                    <a:pt x="308" y="180"/>
                    <a:pt x="455" y="285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8" name="Freeform 23"/>
            <p:cNvSpPr/>
            <p:nvPr/>
          </p:nvSpPr>
          <p:spPr bwMode="auto">
            <a:xfrm>
              <a:off x="11290826" y="5579"/>
              <a:ext cx="895350" cy="534687"/>
            </a:xfrm>
            <a:custGeom>
              <a:avLst/>
              <a:gdLst/>
              <a:ahLst/>
              <a:cxnLst/>
              <a:rect l="0" t="0" r="r" b="b"/>
              <a:pathLst>
                <a:path w="188" h="112">
                  <a:moveTo>
                    <a:pt x="0" y="0"/>
                  </a:moveTo>
                  <a:cubicBezTo>
                    <a:pt x="63" y="36"/>
                    <a:pt x="126" y="73"/>
                    <a:pt x="188" y="112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</p:grpSp>
      <p:grpSp>
        <p:nvGrpSpPr>
          <p:cNvPr id="9" name="Group 8"/>
          <p:cNvGrpSpPr/>
          <p:nvPr/>
        </p:nvGrpSpPr>
        <p:grpSpPr>
          <a:xfrm>
            <a:off x="1669293" y="1186483"/>
            <a:ext cx="8848345" cy="4477933"/>
            <a:chOff x="1669293" y="1186483"/>
            <a:chExt cx="8848345" cy="4477933"/>
          </a:xfrm>
        </p:grpSpPr>
        <p:sp>
          <p:nvSpPr>
            <p:cNvPr id="39" name="Rectangle 38"/>
            <p:cNvSpPr/>
            <p:nvPr/>
          </p:nvSpPr>
          <p:spPr>
            <a:xfrm>
              <a:off x="1674042" y="1186483"/>
              <a:ext cx="8843596" cy="71618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40" name="Isosceles Triangle 39"/>
            <p:cNvSpPr/>
            <p:nvPr/>
          </p:nvSpPr>
          <p:spPr>
            <a:xfrm rot="10800000">
              <a:off x="5892384" y="5313353"/>
              <a:ext cx="407233" cy="35106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41" name="Rectangle 40"/>
            <p:cNvSpPr/>
            <p:nvPr/>
          </p:nvSpPr>
          <p:spPr>
            <a:xfrm>
              <a:off x="1669293" y="1991156"/>
              <a:ext cx="8845667" cy="332219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59236" y="2075504"/>
            <a:ext cx="8679915" cy="1748729"/>
          </a:xfrm>
        </p:spPr>
        <p:txBody>
          <a:bodyPr bIns="0" anchor="b">
            <a:normAutofit/>
          </a:bodyPr>
          <a:lstStyle>
            <a:lvl1pPr algn="ctr">
              <a:lnSpc>
                <a:spcPct val="80000"/>
              </a:lnSpc>
              <a:defRPr sz="5400" spc="-150">
                <a:solidFill>
                  <a:srgbClr val="FFFE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59237" y="3906266"/>
            <a:ext cx="8673427" cy="1322587"/>
          </a:xfrm>
        </p:spPr>
        <p:txBody>
          <a:bodyPr tIns="0">
            <a:normAutofit/>
          </a:bodyPr>
          <a:lstStyle>
            <a:lvl1pPr marL="0" indent="0" algn="ctr">
              <a:lnSpc>
                <a:spcPct val="100000"/>
              </a:lnSpc>
              <a:buNone/>
              <a:defRPr sz="1800" b="0">
                <a:solidFill>
                  <a:srgbClr val="FFFEFF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04672" y="320040"/>
            <a:ext cx="3657600" cy="320040"/>
          </a:xfrm>
        </p:spPr>
        <p:txBody>
          <a:bodyPr vert="horz" lIns="91440" tIns="45720" rIns="91440" bIns="45720" rtlCol="0" anchor="ctr"/>
          <a:lstStyle>
            <a:lvl1pPr>
              <a:defRPr lang="en-US"/>
            </a:lvl1pPr>
          </a:lstStyle>
          <a:p>
            <a:fld id="{48A87A34-81AB-432B-8DAE-1953F412C126}" type="datetimeFigureOut">
              <a:rPr lang="en-US" dirty="0"/>
              <a:pPr/>
              <a:t>4/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04672" y="6227064"/>
            <a:ext cx="10588752" cy="320040"/>
          </a:xfrm>
        </p:spPr>
        <p:txBody>
          <a:bodyPr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69880" y="320040"/>
            <a:ext cx="914400" cy="320040"/>
          </a:xfrm>
        </p:spPr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5" name="Group 74"/>
          <p:cNvGrpSpPr/>
          <p:nvPr/>
        </p:nvGrpSpPr>
        <p:grpSpPr>
          <a:xfrm>
            <a:off x="-417513" y="0"/>
            <a:ext cx="12584114" cy="6853238"/>
            <a:chOff x="-417513" y="0"/>
            <a:chExt cx="12584114" cy="6853238"/>
          </a:xfrm>
        </p:grpSpPr>
        <p:sp>
          <p:nvSpPr>
            <p:cNvPr id="76" name="Freeform 5"/>
            <p:cNvSpPr/>
            <p:nvPr/>
          </p:nvSpPr>
          <p:spPr bwMode="auto"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0" t="0" r="r" b="b"/>
              <a:pathLst>
                <a:path w="813" h="144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77" name="Freeform 6"/>
            <p:cNvSpPr/>
            <p:nvPr/>
          </p:nvSpPr>
          <p:spPr bwMode="auto"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0" t="0" r="r" b="b"/>
              <a:pathLst>
                <a:path w="324" h="117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78" name="Freeform 7"/>
            <p:cNvSpPr/>
            <p:nvPr/>
          </p:nvSpPr>
          <p:spPr bwMode="auto"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0" t="0" r="r" b="b"/>
              <a:pathLst>
                <a:path w="404" h="385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79" name="Freeform 8"/>
            <p:cNvSpPr/>
            <p:nvPr/>
          </p:nvSpPr>
          <p:spPr bwMode="auto"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0" t="0" r="r" b="b"/>
              <a:pathLst>
                <a:path w="774" h="144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0" name="Freeform 9"/>
            <p:cNvSpPr/>
            <p:nvPr/>
          </p:nvSpPr>
          <p:spPr bwMode="auto"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0" t="0" r="r" b="b"/>
              <a:pathLst>
                <a:path w="203" h="77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1" name="Freeform 10"/>
            <p:cNvSpPr/>
            <p:nvPr/>
          </p:nvSpPr>
          <p:spPr bwMode="auto"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0" t="0" r="r" b="b"/>
              <a:pathLst>
                <a:path w="351" h="332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2" name="Freeform 11"/>
            <p:cNvSpPr/>
            <p:nvPr/>
          </p:nvSpPr>
          <p:spPr bwMode="auto"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0" t="0" r="r" b="b"/>
              <a:pathLst>
                <a:path w="762" h="144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3" name="Freeform 12"/>
            <p:cNvSpPr/>
            <p:nvPr/>
          </p:nvSpPr>
          <p:spPr bwMode="auto"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0" t="0" r="r" b="b"/>
              <a:pathLst>
                <a:path w="140" h="54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4" name="Freeform 13"/>
            <p:cNvSpPr/>
            <p:nvPr/>
          </p:nvSpPr>
          <p:spPr bwMode="auto"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0" t="0" r="r" b="b"/>
              <a:pathLst>
                <a:path w="321" h="302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5" name="Freeform 14"/>
            <p:cNvSpPr/>
            <p:nvPr/>
          </p:nvSpPr>
          <p:spPr bwMode="auto"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0" t="0" r="r" b="b"/>
              <a:pathLst>
                <a:path w="683" h="144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6" name="Freeform 15"/>
            <p:cNvSpPr/>
            <p:nvPr/>
          </p:nvSpPr>
          <p:spPr bwMode="auto"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0" t="0" r="r" b="b"/>
              <a:pathLst>
                <a:path w="287" h="279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7" name="Freeform 16"/>
            <p:cNvSpPr/>
            <p:nvPr/>
          </p:nvSpPr>
          <p:spPr bwMode="auto"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0" t="0" r="r" b="b"/>
              <a:pathLst>
                <a:path w="680" h="144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8" name="Freeform 17"/>
            <p:cNvSpPr/>
            <p:nvPr/>
          </p:nvSpPr>
          <p:spPr bwMode="auto"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0" t="0" r="r" b="b"/>
              <a:pathLst>
                <a:path w="250" h="242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9" name="Freeform 18"/>
            <p:cNvSpPr/>
            <p:nvPr/>
          </p:nvSpPr>
          <p:spPr bwMode="auto"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0" t="0" r="r" b="b"/>
              <a:pathLst>
                <a:path w="720" h="144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0" name="Freeform 19"/>
            <p:cNvSpPr/>
            <p:nvPr/>
          </p:nvSpPr>
          <p:spPr bwMode="auto"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0" t="0" r="r" b="b"/>
              <a:pathLst>
                <a:path w="185" h="167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1" name="Freeform 20"/>
            <p:cNvSpPr/>
            <p:nvPr/>
          </p:nvSpPr>
          <p:spPr bwMode="auto"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0" t="0" r="r" b="b"/>
              <a:pathLst>
                <a:path w="572" h="144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2" name="Freeform 21"/>
            <p:cNvSpPr/>
            <p:nvPr/>
          </p:nvSpPr>
          <p:spPr bwMode="auto"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0" t="0" r="r" b="b"/>
              <a:pathLst>
                <a:path w="620" h="144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lg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3" name="Freeform 22"/>
            <p:cNvSpPr/>
            <p:nvPr/>
          </p:nvSpPr>
          <p:spPr bwMode="auto"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0" t="0" r="r" b="b"/>
              <a:pathLst>
                <a:path w="506" h="144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4" name="Freeform 23"/>
            <p:cNvSpPr/>
            <p:nvPr/>
          </p:nvSpPr>
          <p:spPr bwMode="auto"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0" t="0" r="r" b="b"/>
              <a:pathLst>
                <a:path w="373" h="673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5" name="Freeform 24"/>
            <p:cNvSpPr/>
            <p:nvPr/>
          </p:nvSpPr>
          <p:spPr bwMode="auto"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0" t="0" r="r" b="b"/>
              <a:pathLst>
                <a:path w="45" h="174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6" name="Freeform 25"/>
            <p:cNvSpPr/>
            <p:nvPr/>
          </p:nvSpPr>
          <p:spPr bwMode="auto"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0" t="0" r="r" b="b"/>
              <a:pathLst>
                <a:path w="329" h="469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</p:grpSp>
      <p:grpSp>
        <p:nvGrpSpPr>
          <p:cNvPr id="22" name="Group 21"/>
          <p:cNvGrpSpPr/>
          <p:nvPr/>
        </p:nvGrpSpPr>
        <p:grpSpPr>
          <a:xfrm>
            <a:off x="800144" y="1699589"/>
            <a:ext cx="3674476" cy="3470421"/>
            <a:chOff x="697883" y="1816768"/>
            <a:chExt cx="3674476" cy="3470421"/>
          </a:xfrm>
        </p:grpSpPr>
        <p:sp>
          <p:nvSpPr>
            <p:cNvPr id="23" name="Rectangle 22"/>
            <p:cNvSpPr/>
            <p:nvPr/>
          </p:nvSpPr>
          <p:spPr>
            <a:xfrm>
              <a:off x="697883" y="1816768"/>
              <a:ext cx="3674476" cy="5029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2"/>
            <p:cNvSpPr/>
            <p:nvPr/>
          </p:nvSpPr>
          <p:spPr>
            <a:xfrm rot="10800000">
              <a:off x="2380224" y="5014786"/>
              <a:ext cx="315988" cy="27240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4"/>
            <p:cNvSpPr/>
            <p:nvPr/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8632" y="2349925"/>
            <a:ext cx="3501196" cy="2456441"/>
          </a:xfrm>
        </p:spPr>
        <p:txBody>
          <a:bodyPr/>
          <a:lstStyle>
            <a:lvl1pPr>
              <a:defRPr>
                <a:solidFill>
                  <a:srgbClr val="FFFE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09983" y="794719"/>
            <a:ext cx="6275035" cy="525709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5" name="Group 74"/>
          <p:cNvGrpSpPr/>
          <p:nvPr/>
        </p:nvGrpSpPr>
        <p:grpSpPr>
          <a:xfrm flipH="1">
            <a:off x="0" y="0"/>
            <a:ext cx="12584114" cy="6853238"/>
            <a:chOff x="-417513" y="0"/>
            <a:chExt cx="12584114" cy="6853238"/>
          </a:xfrm>
        </p:grpSpPr>
        <p:sp>
          <p:nvSpPr>
            <p:cNvPr id="76" name="Freeform 5"/>
            <p:cNvSpPr/>
            <p:nvPr/>
          </p:nvSpPr>
          <p:spPr bwMode="auto"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0" t="0" r="r" b="b"/>
              <a:pathLst>
                <a:path w="813" h="144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77" name="Freeform 6"/>
            <p:cNvSpPr/>
            <p:nvPr/>
          </p:nvSpPr>
          <p:spPr bwMode="auto"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0" t="0" r="r" b="b"/>
              <a:pathLst>
                <a:path w="324" h="117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78" name="Freeform 7"/>
            <p:cNvSpPr/>
            <p:nvPr/>
          </p:nvSpPr>
          <p:spPr bwMode="auto"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0" t="0" r="r" b="b"/>
              <a:pathLst>
                <a:path w="404" h="385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79" name="Freeform 8"/>
            <p:cNvSpPr/>
            <p:nvPr/>
          </p:nvSpPr>
          <p:spPr bwMode="auto"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0" t="0" r="r" b="b"/>
              <a:pathLst>
                <a:path w="774" h="144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0" name="Freeform 9"/>
            <p:cNvSpPr/>
            <p:nvPr/>
          </p:nvSpPr>
          <p:spPr bwMode="auto"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0" t="0" r="r" b="b"/>
              <a:pathLst>
                <a:path w="203" h="77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1" name="Freeform 10"/>
            <p:cNvSpPr/>
            <p:nvPr/>
          </p:nvSpPr>
          <p:spPr bwMode="auto"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0" t="0" r="r" b="b"/>
              <a:pathLst>
                <a:path w="351" h="332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2" name="Freeform 11"/>
            <p:cNvSpPr/>
            <p:nvPr/>
          </p:nvSpPr>
          <p:spPr bwMode="auto"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0" t="0" r="r" b="b"/>
              <a:pathLst>
                <a:path w="762" h="144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3" name="Freeform 12"/>
            <p:cNvSpPr/>
            <p:nvPr/>
          </p:nvSpPr>
          <p:spPr bwMode="auto"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0" t="0" r="r" b="b"/>
              <a:pathLst>
                <a:path w="140" h="54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4" name="Freeform 13"/>
            <p:cNvSpPr/>
            <p:nvPr/>
          </p:nvSpPr>
          <p:spPr bwMode="auto"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0" t="0" r="r" b="b"/>
              <a:pathLst>
                <a:path w="321" h="302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5" name="Freeform 14"/>
            <p:cNvSpPr/>
            <p:nvPr/>
          </p:nvSpPr>
          <p:spPr bwMode="auto"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0" t="0" r="r" b="b"/>
              <a:pathLst>
                <a:path w="683" h="144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6" name="Freeform 15"/>
            <p:cNvSpPr/>
            <p:nvPr/>
          </p:nvSpPr>
          <p:spPr bwMode="auto"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0" t="0" r="r" b="b"/>
              <a:pathLst>
                <a:path w="287" h="279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7" name="Freeform 16"/>
            <p:cNvSpPr/>
            <p:nvPr/>
          </p:nvSpPr>
          <p:spPr bwMode="auto"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0" t="0" r="r" b="b"/>
              <a:pathLst>
                <a:path w="680" h="144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8" name="Freeform 17"/>
            <p:cNvSpPr/>
            <p:nvPr/>
          </p:nvSpPr>
          <p:spPr bwMode="auto"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0" t="0" r="r" b="b"/>
              <a:pathLst>
                <a:path w="250" h="242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9" name="Freeform 18"/>
            <p:cNvSpPr/>
            <p:nvPr/>
          </p:nvSpPr>
          <p:spPr bwMode="auto"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0" t="0" r="r" b="b"/>
              <a:pathLst>
                <a:path w="720" h="144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0" name="Freeform 19"/>
            <p:cNvSpPr/>
            <p:nvPr/>
          </p:nvSpPr>
          <p:spPr bwMode="auto"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0" t="0" r="r" b="b"/>
              <a:pathLst>
                <a:path w="185" h="167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1" name="Freeform 20"/>
            <p:cNvSpPr/>
            <p:nvPr/>
          </p:nvSpPr>
          <p:spPr bwMode="auto"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0" t="0" r="r" b="b"/>
              <a:pathLst>
                <a:path w="572" h="144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2" name="Freeform 21"/>
            <p:cNvSpPr/>
            <p:nvPr/>
          </p:nvSpPr>
          <p:spPr bwMode="auto"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0" t="0" r="r" b="b"/>
              <a:pathLst>
                <a:path w="620" h="144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lg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3" name="Freeform 22"/>
            <p:cNvSpPr/>
            <p:nvPr/>
          </p:nvSpPr>
          <p:spPr bwMode="auto"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0" t="0" r="r" b="b"/>
              <a:pathLst>
                <a:path w="506" h="144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4" name="Freeform 23"/>
            <p:cNvSpPr/>
            <p:nvPr/>
          </p:nvSpPr>
          <p:spPr bwMode="auto"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0" t="0" r="r" b="b"/>
              <a:pathLst>
                <a:path w="373" h="673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5" name="Freeform 24"/>
            <p:cNvSpPr/>
            <p:nvPr/>
          </p:nvSpPr>
          <p:spPr bwMode="auto"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0" t="0" r="r" b="b"/>
              <a:pathLst>
                <a:path w="45" h="174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6" name="Freeform 25"/>
            <p:cNvSpPr/>
            <p:nvPr/>
          </p:nvSpPr>
          <p:spPr bwMode="auto"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0" t="0" r="r" b="b"/>
              <a:pathLst>
                <a:path w="329" h="469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</p:grpSp>
      <p:grpSp>
        <p:nvGrpSpPr>
          <p:cNvPr id="22" name="Group 21"/>
          <p:cNvGrpSpPr/>
          <p:nvPr/>
        </p:nvGrpSpPr>
        <p:grpSpPr>
          <a:xfrm>
            <a:off x="7718948" y="1699589"/>
            <a:ext cx="3674476" cy="3470421"/>
            <a:chOff x="697883" y="1816768"/>
            <a:chExt cx="3674476" cy="3470421"/>
          </a:xfrm>
        </p:grpSpPr>
        <p:sp>
          <p:nvSpPr>
            <p:cNvPr id="23" name="Rectangle 22"/>
            <p:cNvSpPr/>
            <p:nvPr/>
          </p:nvSpPr>
          <p:spPr>
            <a:xfrm>
              <a:off x="697883" y="1816768"/>
              <a:ext cx="3674476" cy="5029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2"/>
            <p:cNvSpPr/>
            <p:nvPr/>
          </p:nvSpPr>
          <p:spPr>
            <a:xfrm rot="10800000">
              <a:off x="2380224" y="5014786"/>
              <a:ext cx="315988" cy="27240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4"/>
            <p:cNvSpPr/>
            <p:nvPr/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07437" y="2349925"/>
            <a:ext cx="3501195" cy="2456442"/>
          </a:xfrm>
        </p:spPr>
        <p:txBody>
          <a:bodyPr vert="eaVert"/>
          <a:lstStyle>
            <a:lvl1pPr algn="l">
              <a:lnSpc>
                <a:spcPct val="80000"/>
              </a:lnSpc>
              <a:defRPr>
                <a:solidFill>
                  <a:srgbClr val="FFFE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02747" y="798444"/>
            <a:ext cx="6268622" cy="525730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04672" y="320040"/>
            <a:ext cx="3657600" cy="320040"/>
          </a:xfrm>
        </p:spPr>
        <p:txBody>
          <a:bodyPr/>
          <a:lstStyle/>
          <a:p>
            <a:fld id="{48A87A34-81AB-432B-8DAE-1953F412C126}" type="datetimeFigureOut">
              <a:rPr lang="en-US" dirty="0"/>
              <a:t>4/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04672" y="6227064"/>
            <a:ext cx="10588752" cy="32004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69880" y="320040"/>
            <a:ext cx="914400" cy="320040"/>
          </a:xfrm>
        </p:spPr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/>
          <p:nvPr/>
        </p:nvGrpSpPr>
        <p:grpSpPr>
          <a:xfrm>
            <a:off x="-417513" y="0"/>
            <a:ext cx="12584114" cy="6853238"/>
            <a:chOff x="-417513" y="0"/>
            <a:chExt cx="12584114" cy="6853238"/>
          </a:xfrm>
        </p:grpSpPr>
        <p:sp>
          <p:nvSpPr>
            <p:cNvPr id="81" name="Freeform 5"/>
            <p:cNvSpPr/>
            <p:nvPr/>
          </p:nvSpPr>
          <p:spPr bwMode="auto"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0" t="0" r="r" b="b"/>
              <a:pathLst>
                <a:path w="813" h="144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2" name="Freeform 6"/>
            <p:cNvSpPr/>
            <p:nvPr/>
          </p:nvSpPr>
          <p:spPr bwMode="auto"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0" t="0" r="r" b="b"/>
              <a:pathLst>
                <a:path w="324" h="117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3" name="Freeform 7"/>
            <p:cNvSpPr/>
            <p:nvPr/>
          </p:nvSpPr>
          <p:spPr bwMode="auto"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0" t="0" r="r" b="b"/>
              <a:pathLst>
                <a:path w="404" h="385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4" name="Freeform 8"/>
            <p:cNvSpPr/>
            <p:nvPr/>
          </p:nvSpPr>
          <p:spPr bwMode="auto"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0" t="0" r="r" b="b"/>
              <a:pathLst>
                <a:path w="774" h="144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5" name="Freeform 9"/>
            <p:cNvSpPr/>
            <p:nvPr/>
          </p:nvSpPr>
          <p:spPr bwMode="auto"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0" t="0" r="r" b="b"/>
              <a:pathLst>
                <a:path w="203" h="77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6" name="Freeform 10"/>
            <p:cNvSpPr/>
            <p:nvPr/>
          </p:nvSpPr>
          <p:spPr bwMode="auto"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0" t="0" r="r" b="b"/>
              <a:pathLst>
                <a:path w="351" h="332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7" name="Freeform 11"/>
            <p:cNvSpPr/>
            <p:nvPr/>
          </p:nvSpPr>
          <p:spPr bwMode="auto"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0" t="0" r="r" b="b"/>
              <a:pathLst>
                <a:path w="762" h="144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8" name="Freeform 12"/>
            <p:cNvSpPr/>
            <p:nvPr/>
          </p:nvSpPr>
          <p:spPr bwMode="auto"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0" t="0" r="r" b="b"/>
              <a:pathLst>
                <a:path w="140" h="54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9" name="Freeform 13"/>
            <p:cNvSpPr/>
            <p:nvPr/>
          </p:nvSpPr>
          <p:spPr bwMode="auto"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0" t="0" r="r" b="b"/>
              <a:pathLst>
                <a:path w="321" h="302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0" name="Freeform 14"/>
            <p:cNvSpPr/>
            <p:nvPr/>
          </p:nvSpPr>
          <p:spPr bwMode="auto"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0" t="0" r="r" b="b"/>
              <a:pathLst>
                <a:path w="683" h="144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1" name="Freeform 15"/>
            <p:cNvSpPr/>
            <p:nvPr/>
          </p:nvSpPr>
          <p:spPr bwMode="auto"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0" t="0" r="r" b="b"/>
              <a:pathLst>
                <a:path w="287" h="279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2" name="Freeform 16"/>
            <p:cNvSpPr/>
            <p:nvPr/>
          </p:nvSpPr>
          <p:spPr bwMode="auto"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0" t="0" r="r" b="b"/>
              <a:pathLst>
                <a:path w="680" h="144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3" name="Freeform 17"/>
            <p:cNvSpPr/>
            <p:nvPr/>
          </p:nvSpPr>
          <p:spPr bwMode="auto"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0" t="0" r="r" b="b"/>
              <a:pathLst>
                <a:path w="250" h="242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4" name="Freeform 18"/>
            <p:cNvSpPr/>
            <p:nvPr/>
          </p:nvSpPr>
          <p:spPr bwMode="auto"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0" t="0" r="r" b="b"/>
              <a:pathLst>
                <a:path w="720" h="144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5" name="Freeform 19"/>
            <p:cNvSpPr/>
            <p:nvPr/>
          </p:nvSpPr>
          <p:spPr bwMode="auto"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0" t="0" r="r" b="b"/>
              <a:pathLst>
                <a:path w="185" h="167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6" name="Freeform 20"/>
            <p:cNvSpPr/>
            <p:nvPr/>
          </p:nvSpPr>
          <p:spPr bwMode="auto"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0" t="0" r="r" b="b"/>
              <a:pathLst>
                <a:path w="572" h="144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7" name="Freeform 21"/>
            <p:cNvSpPr/>
            <p:nvPr/>
          </p:nvSpPr>
          <p:spPr bwMode="auto"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0" t="0" r="r" b="b"/>
              <a:pathLst>
                <a:path w="620" h="144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lg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8" name="Freeform 22"/>
            <p:cNvSpPr/>
            <p:nvPr/>
          </p:nvSpPr>
          <p:spPr bwMode="auto"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0" t="0" r="r" b="b"/>
              <a:pathLst>
                <a:path w="506" h="144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9" name="Freeform 23"/>
            <p:cNvSpPr/>
            <p:nvPr/>
          </p:nvSpPr>
          <p:spPr bwMode="auto"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0" t="0" r="r" b="b"/>
              <a:pathLst>
                <a:path w="373" h="673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0" name="Freeform 24"/>
            <p:cNvSpPr/>
            <p:nvPr/>
          </p:nvSpPr>
          <p:spPr bwMode="auto"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0" t="0" r="r" b="b"/>
              <a:pathLst>
                <a:path w="45" h="174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1" name="Freeform 25"/>
            <p:cNvSpPr/>
            <p:nvPr/>
          </p:nvSpPr>
          <p:spPr bwMode="auto"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0" t="0" r="r" b="b"/>
              <a:pathLst>
                <a:path w="329" h="469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</p:grpSp>
      <p:grpSp>
        <p:nvGrpSpPr>
          <p:cNvPr id="27" name="Group 26"/>
          <p:cNvGrpSpPr/>
          <p:nvPr/>
        </p:nvGrpSpPr>
        <p:grpSpPr>
          <a:xfrm>
            <a:off x="800144" y="1699589"/>
            <a:ext cx="3674476" cy="3470421"/>
            <a:chOff x="697883" y="1816768"/>
            <a:chExt cx="3674476" cy="3470421"/>
          </a:xfrm>
        </p:grpSpPr>
        <p:sp>
          <p:nvSpPr>
            <p:cNvPr id="28" name="Rectangle 27"/>
            <p:cNvSpPr/>
            <p:nvPr/>
          </p:nvSpPr>
          <p:spPr>
            <a:xfrm>
              <a:off x="697883" y="1816768"/>
              <a:ext cx="3674476" cy="5029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2"/>
            <p:cNvSpPr/>
            <p:nvPr/>
          </p:nvSpPr>
          <p:spPr>
            <a:xfrm rot="10800000">
              <a:off x="2380224" y="5014786"/>
              <a:ext cx="315988" cy="27240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8631" y="2349925"/>
            <a:ext cx="3498979" cy="2456442"/>
          </a:xfrm>
        </p:spPr>
        <p:txBody>
          <a:bodyPr/>
          <a:lstStyle>
            <a:lvl1pPr>
              <a:defRPr>
                <a:solidFill>
                  <a:srgbClr val="FFFE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18447" y="803186"/>
            <a:ext cx="6281873" cy="5248622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7" name="Group 76"/>
          <p:cNvGrpSpPr/>
          <p:nvPr/>
        </p:nvGrpSpPr>
        <p:grpSpPr>
          <a:xfrm>
            <a:off x="-329674" y="-59376"/>
            <a:ext cx="12515851" cy="6923798"/>
            <a:chOff x="-329674" y="-51881"/>
            <a:chExt cx="12515851" cy="6923798"/>
          </a:xfrm>
        </p:grpSpPr>
        <p:sp>
          <p:nvSpPr>
            <p:cNvPr id="78" name="Freeform 5"/>
            <p:cNvSpPr/>
            <p:nvPr/>
          </p:nvSpPr>
          <p:spPr bwMode="auto">
            <a:xfrm>
              <a:off x="-329674" y="1298404"/>
              <a:ext cx="9702800" cy="5573512"/>
            </a:xfrm>
            <a:custGeom>
              <a:avLst/>
              <a:gdLst/>
              <a:ahLst/>
              <a:cxnLst/>
              <a:rect l="0" t="0" r="r" b="b"/>
              <a:pathLst>
                <a:path w="2038" h="1169">
                  <a:moveTo>
                    <a:pt x="1752" y="1169"/>
                  </a:moveTo>
                  <a:cubicBezTo>
                    <a:pt x="2038" y="928"/>
                    <a:pt x="1673" y="513"/>
                    <a:pt x="1487" y="334"/>
                  </a:cubicBezTo>
                  <a:cubicBezTo>
                    <a:pt x="1316" y="170"/>
                    <a:pt x="1099" y="43"/>
                    <a:pt x="860" y="22"/>
                  </a:cubicBezTo>
                  <a:cubicBezTo>
                    <a:pt x="621" y="0"/>
                    <a:pt x="341" y="128"/>
                    <a:pt x="199" y="318"/>
                  </a:cubicBezTo>
                  <a:cubicBezTo>
                    <a:pt x="0" y="586"/>
                    <a:pt x="184" y="965"/>
                    <a:pt x="399" y="1165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79" name="Freeform 6"/>
            <p:cNvSpPr/>
            <p:nvPr/>
          </p:nvSpPr>
          <p:spPr bwMode="auto">
            <a:xfrm>
              <a:off x="670451" y="2018236"/>
              <a:ext cx="7373938" cy="4848892"/>
            </a:xfrm>
            <a:custGeom>
              <a:avLst/>
              <a:gdLst/>
              <a:ahLst/>
              <a:cxnLst/>
              <a:rect l="0" t="0" r="r" b="b"/>
              <a:pathLst>
                <a:path w="1549" h="1017">
                  <a:moveTo>
                    <a:pt x="1025" y="1016"/>
                  </a:moveTo>
                  <a:cubicBezTo>
                    <a:pt x="1223" y="971"/>
                    <a:pt x="1549" y="857"/>
                    <a:pt x="1443" y="592"/>
                  </a:cubicBezTo>
                  <a:cubicBezTo>
                    <a:pt x="1344" y="344"/>
                    <a:pt x="1041" y="111"/>
                    <a:pt x="782" y="53"/>
                  </a:cubicBezTo>
                  <a:cubicBezTo>
                    <a:pt x="545" y="0"/>
                    <a:pt x="275" y="117"/>
                    <a:pt x="150" y="329"/>
                  </a:cubicBezTo>
                  <a:cubicBezTo>
                    <a:pt x="0" y="584"/>
                    <a:pt x="243" y="911"/>
                    <a:pt x="477" y="1017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0" name="Freeform 7"/>
            <p:cNvSpPr/>
            <p:nvPr/>
          </p:nvSpPr>
          <p:spPr bwMode="auto">
            <a:xfrm>
              <a:off x="251351" y="1788400"/>
              <a:ext cx="8035925" cy="5083516"/>
            </a:xfrm>
            <a:custGeom>
              <a:avLst/>
              <a:gdLst/>
              <a:ahLst/>
              <a:cxnLst/>
              <a:rect l="0" t="0" r="r" b="b"/>
              <a:pathLst>
                <a:path w="1688" h="1066">
                  <a:moveTo>
                    <a:pt x="1302" y="1066"/>
                  </a:moveTo>
                  <a:cubicBezTo>
                    <a:pt x="1416" y="1024"/>
                    <a:pt x="1551" y="962"/>
                    <a:pt x="1613" y="850"/>
                  </a:cubicBezTo>
                  <a:cubicBezTo>
                    <a:pt x="1688" y="715"/>
                    <a:pt x="1606" y="575"/>
                    <a:pt x="1517" y="471"/>
                  </a:cubicBezTo>
                  <a:cubicBezTo>
                    <a:pt x="1336" y="258"/>
                    <a:pt x="1084" y="62"/>
                    <a:pt x="798" y="28"/>
                  </a:cubicBezTo>
                  <a:cubicBezTo>
                    <a:pt x="559" y="0"/>
                    <a:pt x="317" y="138"/>
                    <a:pt x="181" y="333"/>
                  </a:cubicBezTo>
                  <a:cubicBezTo>
                    <a:pt x="0" y="592"/>
                    <a:pt x="191" y="907"/>
                    <a:pt x="420" y="1066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1" name="Freeform 8"/>
            <p:cNvSpPr/>
            <p:nvPr/>
          </p:nvSpPr>
          <p:spPr bwMode="auto">
            <a:xfrm>
              <a:off x="-1061" y="549842"/>
              <a:ext cx="10334625" cy="6322075"/>
            </a:xfrm>
            <a:custGeom>
              <a:avLst/>
              <a:gdLst/>
              <a:ahLst/>
              <a:cxnLst/>
              <a:rect l="0" t="0" r="r" b="b"/>
              <a:pathLst>
                <a:path w="2171" h="1326">
                  <a:moveTo>
                    <a:pt x="1873" y="1326"/>
                  </a:moveTo>
                  <a:cubicBezTo>
                    <a:pt x="2171" y="1045"/>
                    <a:pt x="1825" y="678"/>
                    <a:pt x="1609" y="473"/>
                  </a:cubicBezTo>
                  <a:cubicBezTo>
                    <a:pt x="1406" y="281"/>
                    <a:pt x="1159" y="116"/>
                    <a:pt x="880" y="63"/>
                  </a:cubicBezTo>
                  <a:cubicBezTo>
                    <a:pt x="545" y="0"/>
                    <a:pt x="214" y="161"/>
                    <a:pt x="0" y="42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2" name="Freeform 9"/>
            <p:cNvSpPr/>
            <p:nvPr/>
          </p:nvSpPr>
          <p:spPr bwMode="auto">
            <a:xfrm>
              <a:off x="3701" y="6186246"/>
              <a:ext cx="504825" cy="681527"/>
            </a:xfrm>
            <a:custGeom>
              <a:avLst/>
              <a:gdLst/>
              <a:ahLst/>
              <a:cxnLst/>
              <a:rect l="0" t="0" r="r" b="b"/>
              <a:pathLst>
                <a:path w="106" h="143">
                  <a:moveTo>
                    <a:pt x="0" y="0"/>
                  </a:moveTo>
                  <a:cubicBezTo>
                    <a:pt x="35" y="54"/>
                    <a:pt x="70" y="101"/>
                    <a:pt x="106" y="143"/>
                  </a:cubicBezTo>
                </a:path>
              </a:pathLst>
            </a:custGeom>
            <a:noFill/>
            <a:ln w="4763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3" name="Freeform 10"/>
            <p:cNvSpPr/>
            <p:nvPr/>
          </p:nvSpPr>
          <p:spPr bwMode="auto">
            <a:xfrm>
              <a:off x="-1061" y="-51881"/>
              <a:ext cx="11091863" cy="6923796"/>
            </a:xfrm>
            <a:custGeom>
              <a:avLst/>
              <a:gdLst/>
              <a:ahLst/>
              <a:cxnLst/>
              <a:rect l="0" t="0" r="r" b="b"/>
              <a:pathLst>
                <a:path w="2330" h="1452">
                  <a:moveTo>
                    <a:pt x="2046" y="1452"/>
                  </a:moveTo>
                  <a:cubicBezTo>
                    <a:pt x="2330" y="1153"/>
                    <a:pt x="2049" y="821"/>
                    <a:pt x="1813" y="601"/>
                  </a:cubicBezTo>
                  <a:cubicBezTo>
                    <a:pt x="1569" y="375"/>
                    <a:pt x="1282" y="179"/>
                    <a:pt x="956" y="97"/>
                  </a:cubicBezTo>
                  <a:cubicBezTo>
                    <a:pt x="572" y="0"/>
                    <a:pt x="292" y="101"/>
                    <a:pt x="0" y="366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4" name="Freeform 11"/>
            <p:cNvSpPr/>
            <p:nvPr/>
          </p:nvSpPr>
          <p:spPr bwMode="auto">
            <a:xfrm>
              <a:off x="5426601" y="5579"/>
              <a:ext cx="5788025" cy="6847184"/>
            </a:xfrm>
            <a:custGeom>
              <a:avLst/>
              <a:gdLst/>
              <a:ahLst/>
              <a:cxnLst/>
              <a:rect l="0" t="0" r="r" b="b"/>
              <a:pathLst>
                <a:path w="1216" h="1436">
                  <a:moveTo>
                    <a:pt x="1094" y="1436"/>
                  </a:moveTo>
                  <a:cubicBezTo>
                    <a:pt x="1216" y="1114"/>
                    <a:pt x="904" y="770"/>
                    <a:pt x="709" y="551"/>
                  </a:cubicBezTo>
                  <a:cubicBezTo>
                    <a:pt x="509" y="327"/>
                    <a:pt x="274" y="127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5" name="Freeform 12"/>
            <p:cNvSpPr/>
            <p:nvPr/>
          </p:nvSpPr>
          <p:spPr bwMode="auto">
            <a:xfrm>
              <a:off x="-1061" y="5579"/>
              <a:ext cx="1057275" cy="614491"/>
            </a:xfrm>
            <a:custGeom>
              <a:avLst/>
              <a:gdLst/>
              <a:ahLst/>
              <a:cxnLst/>
              <a:rect l="0" t="0" r="r" b="b"/>
              <a:pathLst>
                <a:path w="222" h="129">
                  <a:moveTo>
                    <a:pt x="222" y="0"/>
                  </a:moveTo>
                  <a:cubicBezTo>
                    <a:pt x="152" y="35"/>
                    <a:pt x="76" y="78"/>
                    <a:pt x="0" y="12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6" name="Freeform 13"/>
            <p:cNvSpPr/>
            <p:nvPr/>
          </p:nvSpPr>
          <p:spPr bwMode="auto">
            <a:xfrm>
              <a:off x="5821889" y="5579"/>
              <a:ext cx="5588000" cy="6866337"/>
            </a:xfrm>
            <a:custGeom>
              <a:avLst/>
              <a:gdLst/>
              <a:ahLst/>
              <a:cxnLst/>
              <a:rect l="0" t="0" r="r" b="b"/>
              <a:pathLst>
                <a:path w="1174" h="1440">
                  <a:moveTo>
                    <a:pt x="1067" y="1440"/>
                  </a:moveTo>
                  <a:cubicBezTo>
                    <a:pt x="1174" y="1124"/>
                    <a:pt x="887" y="797"/>
                    <a:pt x="698" y="577"/>
                  </a:cubicBezTo>
                  <a:cubicBezTo>
                    <a:pt x="500" y="348"/>
                    <a:pt x="270" y="14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7" name="Freeform 14"/>
            <p:cNvSpPr/>
            <p:nvPr/>
          </p:nvSpPr>
          <p:spPr bwMode="auto">
            <a:xfrm>
              <a:off x="3701" y="790"/>
              <a:ext cx="595313" cy="352734"/>
            </a:xfrm>
            <a:custGeom>
              <a:avLst/>
              <a:gdLst/>
              <a:ahLst/>
              <a:cxnLst/>
              <a:rect l="0" t="0" r="r" b="b"/>
              <a:pathLst>
                <a:path w="125" h="74">
                  <a:moveTo>
                    <a:pt x="125" y="0"/>
                  </a:moveTo>
                  <a:cubicBezTo>
                    <a:pt x="85" y="22"/>
                    <a:pt x="43" y="47"/>
                    <a:pt x="0" y="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8" name="Freeform 15"/>
            <p:cNvSpPr/>
            <p:nvPr/>
          </p:nvSpPr>
          <p:spPr bwMode="auto">
            <a:xfrm>
              <a:off x="6012389" y="5579"/>
              <a:ext cx="5497513" cy="6866337"/>
            </a:xfrm>
            <a:custGeom>
              <a:avLst/>
              <a:gdLst/>
              <a:ahLst/>
              <a:cxnLst/>
              <a:rect l="0" t="0" r="r" b="b"/>
              <a:pathLst>
                <a:path w="1155" h="1440">
                  <a:moveTo>
                    <a:pt x="1056" y="1440"/>
                  </a:moveTo>
                  <a:cubicBezTo>
                    <a:pt x="1155" y="1123"/>
                    <a:pt x="875" y="801"/>
                    <a:pt x="686" y="580"/>
                  </a:cubicBezTo>
                  <a:cubicBezTo>
                    <a:pt x="491" y="352"/>
                    <a:pt x="264" y="145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9" name="Freeform 16"/>
            <p:cNvSpPr/>
            <p:nvPr/>
          </p:nvSpPr>
          <p:spPr bwMode="auto">
            <a:xfrm>
              <a:off x="-1061" y="5579"/>
              <a:ext cx="357188" cy="213875"/>
            </a:xfrm>
            <a:custGeom>
              <a:avLst/>
              <a:gdLst/>
              <a:ahLst/>
              <a:cxnLst/>
              <a:rect l="0" t="0" r="r" b="b"/>
              <a:pathLst>
                <a:path w="75" h="45">
                  <a:moveTo>
                    <a:pt x="75" y="0"/>
                  </a:moveTo>
                  <a:cubicBezTo>
                    <a:pt x="50" y="14"/>
                    <a:pt x="25" y="29"/>
                    <a:pt x="0" y="45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0" name="Freeform 17"/>
            <p:cNvSpPr/>
            <p:nvPr/>
          </p:nvSpPr>
          <p:spPr bwMode="auto">
            <a:xfrm>
              <a:off x="6210826" y="790"/>
              <a:ext cx="5522913" cy="6871126"/>
            </a:xfrm>
            <a:custGeom>
              <a:avLst/>
              <a:gdLst/>
              <a:ahLst/>
              <a:cxnLst/>
              <a:rect l="0" t="0" r="r" b="b"/>
              <a:pathLst>
                <a:path w="1160" h="1441">
                  <a:moveTo>
                    <a:pt x="1053" y="1441"/>
                  </a:moveTo>
                  <a:cubicBezTo>
                    <a:pt x="1160" y="1129"/>
                    <a:pt x="892" y="817"/>
                    <a:pt x="705" y="599"/>
                  </a:cubicBezTo>
                  <a:cubicBezTo>
                    <a:pt x="503" y="365"/>
                    <a:pt x="270" y="152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1" name="Freeform 18"/>
            <p:cNvSpPr/>
            <p:nvPr/>
          </p:nvSpPr>
          <p:spPr bwMode="auto">
            <a:xfrm>
              <a:off x="6463239" y="5579"/>
              <a:ext cx="5413375" cy="6866337"/>
            </a:xfrm>
            <a:custGeom>
              <a:avLst/>
              <a:gdLst/>
              <a:ahLst/>
              <a:cxnLst/>
              <a:rect l="0" t="0" r="r" b="b"/>
              <a:pathLst>
                <a:path w="1137" h="1440">
                  <a:moveTo>
                    <a:pt x="1040" y="1440"/>
                  </a:moveTo>
                  <a:cubicBezTo>
                    <a:pt x="1137" y="1131"/>
                    <a:pt x="883" y="828"/>
                    <a:pt x="698" y="611"/>
                  </a:cubicBezTo>
                  <a:cubicBezTo>
                    <a:pt x="498" y="375"/>
                    <a:pt x="268" y="159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2" name="Freeform 19"/>
            <p:cNvSpPr/>
            <p:nvPr/>
          </p:nvSpPr>
          <p:spPr bwMode="auto">
            <a:xfrm>
              <a:off x="6877576" y="5579"/>
              <a:ext cx="5037138" cy="6861550"/>
            </a:xfrm>
            <a:custGeom>
              <a:avLst/>
              <a:gdLst/>
              <a:ahLst/>
              <a:cxnLst/>
              <a:rect l="0" t="0" r="r" b="b"/>
              <a:pathLst>
                <a:path w="1058" h="1439">
                  <a:moveTo>
                    <a:pt x="1011" y="1439"/>
                  </a:moveTo>
                  <a:cubicBezTo>
                    <a:pt x="1058" y="1131"/>
                    <a:pt x="825" y="841"/>
                    <a:pt x="648" y="617"/>
                  </a:cubicBezTo>
                  <a:cubicBezTo>
                    <a:pt x="462" y="383"/>
                    <a:pt x="248" y="16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3" name="Freeform 20"/>
            <p:cNvSpPr/>
            <p:nvPr/>
          </p:nvSpPr>
          <p:spPr bwMode="auto">
            <a:xfrm>
              <a:off x="8768289" y="5579"/>
              <a:ext cx="3417888" cy="2742066"/>
            </a:xfrm>
            <a:custGeom>
              <a:avLst/>
              <a:gdLst/>
              <a:ahLst/>
              <a:cxnLst/>
              <a:rect l="0" t="0" r="r" b="b"/>
              <a:pathLst>
                <a:path w="718" h="575">
                  <a:moveTo>
                    <a:pt x="718" y="575"/>
                  </a:moveTo>
                  <a:cubicBezTo>
                    <a:pt x="500" y="360"/>
                    <a:pt x="260" y="163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4" name="Freeform 21"/>
            <p:cNvSpPr/>
            <p:nvPr/>
          </p:nvSpPr>
          <p:spPr bwMode="auto">
            <a:xfrm>
              <a:off x="9235014" y="10367"/>
              <a:ext cx="2951163" cy="2555325"/>
            </a:xfrm>
            <a:custGeom>
              <a:avLst/>
              <a:gdLst/>
              <a:ahLst/>
              <a:cxnLst/>
              <a:rect l="0" t="0" r="r" b="b"/>
              <a:pathLst>
                <a:path w="620" h="536">
                  <a:moveTo>
                    <a:pt x="620" y="536"/>
                  </a:moveTo>
                  <a:cubicBezTo>
                    <a:pt x="404" y="314"/>
                    <a:pt x="196" y="13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5" name="Freeform 22"/>
            <p:cNvSpPr/>
            <p:nvPr/>
          </p:nvSpPr>
          <p:spPr bwMode="auto">
            <a:xfrm>
              <a:off x="10020826" y="5579"/>
              <a:ext cx="2165350" cy="1358265"/>
            </a:xfrm>
            <a:custGeom>
              <a:avLst/>
              <a:gdLst/>
              <a:ahLst/>
              <a:cxnLst/>
              <a:rect l="0" t="0" r="r" b="b"/>
              <a:pathLst>
                <a:path w="455" h="285">
                  <a:moveTo>
                    <a:pt x="0" y="0"/>
                  </a:moveTo>
                  <a:cubicBezTo>
                    <a:pt x="153" y="85"/>
                    <a:pt x="308" y="180"/>
                    <a:pt x="455" y="285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6" name="Freeform 23"/>
            <p:cNvSpPr/>
            <p:nvPr/>
          </p:nvSpPr>
          <p:spPr bwMode="auto">
            <a:xfrm>
              <a:off x="11290826" y="5579"/>
              <a:ext cx="895350" cy="534687"/>
            </a:xfrm>
            <a:custGeom>
              <a:avLst/>
              <a:gdLst/>
              <a:ahLst/>
              <a:cxnLst/>
              <a:rect l="0" t="0" r="r" b="b"/>
              <a:pathLst>
                <a:path w="188" h="112">
                  <a:moveTo>
                    <a:pt x="0" y="0"/>
                  </a:moveTo>
                  <a:cubicBezTo>
                    <a:pt x="63" y="36"/>
                    <a:pt x="126" y="73"/>
                    <a:pt x="188" y="112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</p:grpSp>
      <p:grpSp>
        <p:nvGrpSpPr>
          <p:cNvPr id="9" name="Group 8"/>
          <p:cNvGrpSpPr/>
          <p:nvPr/>
        </p:nvGrpSpPr>
        <p:grpSpPr>
          <a:xfrm>
            <a:off x="3259545" y="1186483"/>
            <a:ext cx="5666145" cy="4477933"/>
            <a:chOff x="3259545" y="1186483"/>
            <a:chExt cx="5666145" cy="4477933"/>
          </a:xfrm>
        </p:grpSpPr>
        <p:sp>
          <p:nvSpPr>
            <p:cNvPr id="99" name="Rectangle 98"/>
            <p:cNvSpPr/>
            <p:nvPr/>
          </p:nvSpPr>
          <p:spPr>
            <a:xfrm>
              <a:off x="3259545" y="1186483"/>
              <a:ext cx="5657881" cy="71618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00" name="Isosceles Triangle 39"/>
            <p:cNvSpPr/>
            <p:nvPr/>
          </p:nvSpPr>
          <p:spPr>
            <a:xfrm rot="10800000">
              <a:off x="5892384" y="5313353"/>
              <a:ext cx="407233" cy="35106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01" name="Rectangle 100"/>
            <p:cNvSpPr/>
            <p:nvPr/>
          </p:nvSpPr>
          <p:spPr>
            <a:xfrm>
              <a:off x="3259545" y="1991156"/>
              <a:ext cx="5666145" cy="332219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216" y="2074730"/>
            <a:ext cx="5490224" cy="1689390"/>
          </a:xfrm>
        </p:spPr>
        <p:txBody>
          <a:bodyPr bIns="0" anchor="b">
            <a:normAutofit/>
          </a:bodyPr>
          <a:lstStyle>
            <a:lvl1pPr algn="ctr">
              <a:defRPr sz="4400">
                <a:solidFill>
                  <a:srgbClr val="FFFE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4215" y="3846851"/>
            <a:ext cx="5490223" cy="1383770"/>
          </a:xfrm>
        </p:spPr>
        <p:txBody>
          <a:bodyPr tIns="0">
            <a:normAutofit/>
          </a:bodyPr>
          <a:lstStyle>
            <a:lvl1pPr marL="0" indent="0" algn="ctr">
              <a:buNone/>
              <a:defRPr sz="1800">
                <a:solidFill>
                  <a:srgbClr val="FFFE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04672" y="320040"/>
            <a:ext cx="3657600" cy="320040"/>
          </a:xfrm>
        </p:spPr>
        <p:txBody>
          <a:bodyPr/>
          <a:lstStyle/>
          <a:p>
            <a:fld id="{48A87A34-81AB-432B-8DAE-1953F412C126}" type="datetimeFigureOut">
              <a:rPr lang="en-US" dirty="0"/>
              <a:t>4/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04672" y="6227064"/>
            <a:ext cx="10588752" cy="320040"/>
          </a:xfrm>
        </p:spPr>
        <p:txBody>
          <a:bodyPr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69880" y="320040"/>
            <a:ext cx="914400" cy="320040"/>
          </a:xfrm>
        </p:spPr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/>
          <p:cNvGrpSpPr/>
          <p:nvPr/>
        </p:nvGrpSpPr>
        <p:grpSpPr>
          <a:xfrm>
            <a:off x="-417513" y="0"/>
            <a:ext cx="12584114" cy="6853238"/>
            <a:chOff x="-417513" y="0"/>
            <a:chExt cx="12584114" cy="6853238"/>
          </a:xfrm>
        </p:grpSpPr>
        <p:sp>
          <p:nvSpPr>
            <p:cNvPr id="38" name="Freeform 5"/>
            <p:cNvSpPr/>
            <p:nvPr/>
          </p:nvSpPr>
          <p:spPr bwMode="auto"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0" t="0" r="r" b="b"/>
              <a:pathLst>
                <a:path w="813" h="144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39" name="Freeform 6"/>
            <p:cNvSpPr/>
            <p:nvPr/>
          </p:nvSpPr>
          <p:spPr bwMode="auto"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0" t="0" r="r" b="b"/>
              <a:pathLst>
                <a:path w="324" h="117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0" name="Freeform 7"/>
            <p:cNvSpPr/>
            <p:nvPr/>
          </p:nvSpPr>
          <p:spPr bwMode="auto"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0" t="0" r="r" b="b"/>
              <a:pathLst>
                <a:path w="404" h="385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1" name="Freeform 8"/>
            <p:cNvSpPr/>
            <p:nvPr/>
          </p:nvSpPr>
          <p:spPr bwMode="auto"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0" t="0" r="r" b="b"/>
              <a:pathLst>
                <a:path w="774" h="144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2" name="Freeform 9"/>
            <p:cNvSpPr/>
            <p:nvPr/>
          </p:nvSpPr>
          <p:spPr bwMode="auto"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0" t="0" r="r" b="b"/>
              <a:pathLst>
                <a:path w="203" h="77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3" name="Freeform 10"/>
            <p:cNvSpPr/>
            <p:nvPr/>
          </p:nvSpPr>
          <p:spPr bwMode="auto"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0" t="0" r="r" b="b"/>
              <a:pathLst>
                <a:path w="351" h="332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4" name="Freeform 11"/>
            <p:cNvSpPr/>
            <p:nvPr/>
          </p:nvSpPr>
          <p:spPr bwMode="auto"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0" t="0" r="r" b="b"/>
              <a:pathLst>
                <a:path w="762" h="144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5" name="Freeform 12"/>
            <p:cNvSpPr/>
            <p:nvPr/>
          </p:nvSpPr>
          <p:spPr bwMode="auto"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0" t="0" r="r" b="b"/>
              <a:pathLst>
                <a:path w="140" h="54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6" name="Freeform 13"/>
            <p:cNvSpPr/>
            <p:nvPr/>
          </p:nvSpPr>
          <p:spPr bwMode="auto"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0" t="0" r="r" b="b"/>
              <a:pathLst>
                <a:path w="321" h="302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7" name="Freeform 14"/>
            <p:cNvSpPr/>
            <p:nvPr/>
          </p:nvSpPr>
          <p:spPr bwMode="auto"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0" t="0" r="r" b="b"/>
              <a:pathLst>
                <a:path w="683" h="144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8" name="Freeform 15"/>
            <p:cNvSpPr/>
            <p:nvPr/>
          </p:nvSpPr>
          <p:spPr bwMode="auto"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0" t="0" r="r" b="b"/>
              <a:pathLst>
                <a:path w="287" h="279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9" name="Freeform 16"/>
            <p:cNvSpPr/>
            <p:nvPr/>
          </p:nvSpPr>
          <p:spPr bwMode="auto"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0" t="0" r="r" b="b"/>
              <a:pathLst>
                <a:path w="680" h="144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0" name="Freeform 17"/>
            <p:cNvSpPr/>
            <p:nvPr/>
          </p:nvSpPr>
          <p:spPr bwMode="auto"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0" t="0" r="r" b="b"/>
              <a:pathLst>
                <a:path w="250" h="242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1" name="Freeform 18"/>
            <p:cNvSpPr/>
            <p:nvPr/>
          </p:nvSpPr>
          <p:spPr bwMode="auto"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0" t="0" r="r" b="b"/>
              <a:pathLst>
                <a:path w="720" h="144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2" name="Freeform 19"/>
            <p:cNvSpPr/>
            <p:nvPr/>
          </p:nvSpPr>
          <p:spPr bwMode="auto"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0" t="0" r="r" b="b"/>
              <a:pathLst>
                <a:path w="185" h="167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3" name="Freeform 20"/>
            <p:cNvSpPr/>
            <p:nvPr/>
          </p:nvSpPr>
          <p:spPr bwMode="auto"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0" t="0" r="r" b="b"/>
              <a:pathLst>
                <a:path w="572" h="144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4" name="Freeform 21"/>
            <p:cNvSpPr/>
            <p:nvPr/>
          </p:nvSpPr>
          <p:spPr bwMode="auto"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0" t="0" r="r" b="b"/>
              <a:pathLst>
                <a:path w="620" h="144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lg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5" name="Freeform 22"/>
            <p:cNvSpPr/>
            <p:nvPr/>
          </p:nvSpPr>
          <p:spPr bwMode="auto"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0" t="0" r="r" b="b"/>
              <a:pathLst>
                <a:path w="506" h="144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6" name="Freeform 23"/>
            <p:cNvSpPr/>
            <p:nvPr/>
          </p:nvSpPr>
          <p:spPr bwMode="auto"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0" t="0" r="r" b="b"/>
              <a:pathLst>
                <a:path w="373" h="673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7" name="Freeform 24"/>
            <p:cNvSpPr/>
            <p:nvPr/>
          </p:nvSpPr>
          <p:spPr bwMode="auto"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0" t="0" r="r" b="b"/>
              <a:pathLst>
                <a:path w="45" h="174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8" name="Freeform 25"/>
            <p:cNvSpPr/>
            <p:nvPr/>
          </p:nvSpPr>
          <p:spPr bwMode="auto"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0" t="0" r="r" b="b"/>
              <a:pathLst>
                <a:path w="329" h="469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</p:grpSp>
      <p:grpSp>
        <p:nvGrpSpPr>
          <p:cNvPr id="59" name="Group 58"/>
          <p:cNvGrpSpPr/>
          <p:nvPr/>
        </p:nvGrpSpPr>
        <p:grpSpPr>
          <a:xfrm>
            <a:off x="800144" y="1699589"/>
            <a:ext cx="3674476" cy="3470421"/>
            <a:chOff x="697883" y="1816768"/>
            <a:chExt cx="3674476" cy="3470421"/>
          </a:xfrm>
        </p:grpSpPr>
        <p:sp>
          <p:nvSpPr>
            <p:cNvPr id="60" name="Rectangle 59"/>
            <p:cNvSpPr/>
            <p:nvPr/>
          </p:nvSpPr>
          <p:spPr>
            <a:xfrm>
              <a:off x="697883" y="1816768"/>
              <a:ext cx="3674476" cy="5029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61" name="Isosceles Triangle 22"/>
            <p:cNvSpPr/>
            <p:nvPr/>
          </p:nvSpPr>
          <p:spPr>
            <a:xfrm rot="10800000">
              <a:off x="2380224" y="5014786"/>
              <a:ext cx="315988" cy="27240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62" name="Rectangle 61"/>
            <p:cNvSpPr/>
            <p:nvPr/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9000" y="2339669"/>
            <a:ext cx="3500828" cy="2470065"/>
          </a:xfrm>
        </p:spPr>
        <p:txBody>
          <a:bodyPr lIns="91440" tIns="91440" rIns="91440" bIns="91440"/>
          <a:lstStyle>
            <a:lvl1pPr>
              <a:defRPr>
                <a:solidFill>
                  <a:srgbClr val="FFFE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20878" y="803187"/>
            <a:ext cx="6269591" cy="23826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18447" y="3672162"/>
            <a:ext cx="6272022" cy="23835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04672" y="320040"/>
            <a:ext cx="3657600" cy="320040"/>
          </a:xfrm>
        </p:spPr>
        <p:txBody>
          <a:bodyPr/>
          <a:lstStyle/>
          <a:p>
            <a:fld id="{48A87A34-81AB-432B-8DAE-1953F412C126}" type="datetimeFigureOut">
              <a:rPr lang="en-US" dirty="0"/>
              <a:t>4/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804672" y="6227064"/>
            <a:ext cx="10588752" cy="32004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469880" y="320040"/>
            <a:ext cx="914400" cy="320040"/>
          </a:xfrm>
        </p:spPr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38"/>
          <p:cNvGrpSpPr/>
          <p:nvPr/>
        </p:nvGrpSpPr>
        <p:grpSpPr>
          <a:xfrm>
            <a:off x="-417513" y="0"/>
            <a:ext cx="12584114" cy="6853238"/>
            <a:chOff x="-417513" y="0"/>
            <a:chExt cx="12584114" cy="6853238"/>
          </a:xfrm>
        </p:grpSpPr>
        <p:sp>
          <p:nvSpPr>
            <p:cNvPr id="40" name="Freeform 5"/>
            <p:cNvSpPr/>
            <p:nvPr/>
          </p:nvSpPr>
          <p:spPr bwMode="auto"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0" t="0" r="r" b="b"/>
              <a:pathLst>
                <a:path w="813" h="144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1" name="Freeform 6"/>
            <p:cNvSpPr/>
            <p:nvPr/>
          </p:nvSpPr>
          <p:spPr bwMode="auto"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0" t="0" r="r" b="b"/>
              <a:pathLst>
                <a:path w="324" h="117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2" name="Freeform 7"/>
            <p:cNvSpPr/>
            <p:nvPr/>
          </p:nvSpPr>
          <p:spPr bwMode="auto"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0" t="0" r="r" b="b"/>
              <a:pathLst>
                <a:path w="404" h="385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3" name="Freeform 8"/>
            <p:cNvSpPr/>
            <p:nvPr/>
          </p:nvSpPr>
          <p:spPr bwMode="auto"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0" t="0" r="r" b="b"/>
              <a:pathLst>
                <a:path w="774" h="144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4" name="Freeform 9"/>
            <p:cNvSpPr/>
            <p:nvPr/>
          </p:nvSpPr>
          <p:spPr bwMode="auto"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0" t="0" r="r" b="b"/>
              <a:pathLst>
                <a:path w="203" h="77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5" name="Freeform 10"/>
            <p:cNvSpPr/>
            <p:nvPr/>
          </p:nvSpPr>
          <p:spPr bwMode="auto"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0" t="0" r="r" b="b"/>
              <a:pathLst>
                <a:path w="351" h="332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6" name="Freeform 11"/>
            <p:cNvSpPr/>
            <p:nvPr/>
          </p:nvSpPr>
          <p:spPr bwMode="auto"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0" t="0" r="r" b="b"/>
              <a:pathLst>
                <a:path w="762" h="144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7" name="Freeform 12"/>
            <p:cNvSpPr/>
            <p:nvPr/>
          </p:nvSpPr>
          <p:spPr bwMode="auto"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0" t="0" r="r" b="b"/>
              <a:pathLst>
                <a:path w="140" h="54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8" name="Freeform 13"/>
            <p:cNvSpPr/>
            <p:nvPr/>
          </p:nvSpPr>
          <p:spPr bwMode="auto"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0" t="0" r="r" b="b"/>
              <a:pathLst>
                <a:path w="321" h="302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49" name="Freeform 14"/>
            <p:cNvSpPr/>
            <p:nvPr/>
          </p:nvSpPr>
          <p:spPr bwMode="auto"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0" t="0" r="r" b="b"/>
              <a:pathLst>
                <a:path w="683" h="144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0" name="Freeform 15"/>
            <p:cNvSpPr/>
            <p:nvPr/>
          </p:nvSpPr>
          <p:spPr bwMode="auto"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0" t="0" r="r" b="b"/>
              <a:pathLst>
                <a:path w="287" h="279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1" name="Freeform 16"/>
            <p:cNvSpPr/>
            <p:nvPr/>
          </p:nvSpPr>
          <p:spPr bwMode="auto"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0" t="0" r="r" b="b"/>
              <a:pathLst>
                <a:path w="680" h="144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2" name="Freeform 17"/>
            <p:cNvSpPr/>
            <p:nvPr/>
          </p:nvSpPr>
          <p:spPr bwMode="auto"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0" t="0" r="r" b="b"/>
              <a:pathLst>
                <a:path w="250" h="242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3" name="Freeform 18"/>
            <p:cNvSpPr/>
            <p:nvPr/>
          </p:nvSpPr>
          <p:spPr bwMode="auto"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0" t="0" r="r" b="b"/>
              <a:pathLst>
                <a:path w="720" h="144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4" name="Freeform 19"/>
            <p:cNvSpPr/>
            <p:nvPr/>
          </p:nvSpPr>
          <p:spPr bwMode="auto"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0" t="0" r="r" b="b"/>
              <a:pathLst>
                <a:path w="185" h="167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5" name="Freeform 20"/>
            <p:cNvSpPr/>
            <p:nvPr/>
          </p:nvSpPr>
          <p:spPr bwMode="auto"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0" t="0" r="r" b="b"/>
              <a:pathLst>
                <a:path w="572" h="144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6" name="Freeform 21"/>
            <p:cNvSpPr/>
            <p:nvPr/>
          </p:nvSpPr>
          <p:spPr bwMode="auto"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0" t="0" r="r" b="b"/>
              <a:pathLst>
                <a:path w="620" h="144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lg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7" name="Freeform 22"/>
            <p:cNvSpPr/>
            <p:nvPr/>
          </p:nvSpPr>
          <p:spPr bwMode="auto"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0" t="0" r="r" b="b"/>
              <a:pathLst>
                <a:path w="506" h="144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8" name="Freeform 23"/>
            <p:cNvSpPr/>
            <p:nvPr/>
          </p:nvSpPr>
          <p:spPr bwMode="auto"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0" t="0" r="r" b="b"/>
              <a:pathLst>
                <a:path w="373" h="673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59" name="Freeform 24"/>
            <p:cNvSpPr/>
            <p:nvPr/>
          </p:nvSpPr>
          <p:spPr bwMode="auto"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0" t="0" r="r" b="b"/>
              <a:pathLst>
                <a:path w="45" h="174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60" name="Freeform 25"/>
            <p:cNvSpPr/>
            <p:nvPr/>
          </p:nvSpPr>
          <p:spPr bwMode="auto"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0" t="0" r="r" b="b"/>
              <a:pathLst>
                <a:path w="329" h="469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</p:grpSp>
      <p:grpSp>
        <p:nvGrpSpPr>
          <p:cNvPr id="61" name="Group 60"/>
          <p:cNvGrpSpPr/>
          <p:nvPr/>
        </p:nvGrpSpPr>
        <p:grpSpPr>
          <a:xfrm>
            <a:off x="800144" y="1699589"/>
            <a:ext cx="3674476" cy="3470421"/>
            <a:chOff x="697883" y="1816768"/>
            <a:chExt cx="3674476" cy="3470421"/>
          </a:xfrm>
        </p:grpSpPr>
        <p:sp>
          <p:nvSpPr>
            <p:cNvPr id="62" name="Rectangle 61"/>
            <p:cNvSpPr/>
            <p:nvPr/>
          </p:nvSpPr>
          <p:spPr>
            <a:xfrm>
              <a:off x="697883" y="1816768"/>
              <a:ext cx="3674476" cy="5029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63" name="Isosceles Triangle 22"/>
            <p:cNvSpPr/>
            <p:nvPr/>
          </p:nvSpPr>
          <p:spPr>
            <a:xfrm rot="10800000">
              <a:off x="2380224" y="5014786"/>
              <a:ext cx="315988" cy="27240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64" name="Rectangle 63"/>
            <p:cNvSpPr/>
            <p:nvPr/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9001" y="2363915"/>
            <a:ext cx="3500828" cy="2460497"/>
          </a:xfrm>
        </p:spPr>
        <p:txBody>
          <a:bodyPr lIns="91440" tIns="91440" rIns="91440" bIns="91440"/>
          <a:lstStyle>
            <a:lvl1pPr>
              <a:defRPr>
                <a:solidFill>
                  <a:srgbClr val="FFFE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25137" y="803185"/>
            <a:ext cx="6265088" cy="685800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25305" y="1488985"/>
            <a:ext cx="6264350" cy="16968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18653" y="3665887"/>
            <a:ext cx="6264414" cy="685800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18447" y="4351687"/>
            <a:ext cx="6265588" cy="17040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04672" y="320040"/>
            <a:ext cx="3657600" cy="320040"/>
          </a:xfrm>
        </p:spPr>
        <p:txBody>
          <a:bodyPr/>
          <a:lstStyle/>
          <a:p>
            <a:fld id="{48A87A34-81AB-432B-8DAE-1953F412C126}" type="datetimeFigureOut">
              <a:rPr lang="en-US" dirty="0"/>
              <a:t>4/7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804672" y="6227064"/>
            <a:ext cx="10588752" cy="32004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469880" y="320040"/>
            <a:ext cx="914400" cy="320040"/>
          </a:xfrm>
        </p:spPr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7" name="Group 76"/>
          <p:cNvGrpSpPr/>
          <p:nvPr/>
        </p:nvGrpSpPr>
        <p:grpSpPr>
          <a:xfrm>
            <a:off x="-417513" y="0"/>
            <a:ext cx="12584114" cy="6853238"/>
            <a:chOff x="-417513" y="0"/>
            <a:chExt cx="12584114" cy="6853238"/>
          </a:xfrm>
        </p:grpSpPr>
        <p:sp>
          <p:nvSpPr>
            <p:cNvPr id="78" name="Freeform 5"/>
            <p:cNvSpPr/>
            <p:nvPr/>
          </p:nvSpPr>
          <p:spPr bwMode="auto"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0" t="0" r="r" b="b"/>
              <a:pathLst>
                <a:path w="813" h="144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79" name="Freeform 6"/>
            <p:cNvSpPr/>
            <p:nvPr/>
          </p:nvSpPr>
          <p:spPr bwMode="auto"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0" t="0" r="r" b="b"/>
              <a:pathLst>
                <a:path w="324" h="117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0" name="Freeform 7"/>
            <p:cNvSpPr/>
            <p:nvPr/>
          </p:nvSpPr>
          <p:spPr bwMode="auto"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0" t="0" r="r" b="b"/>
              <a:pathLst>
                <a:path w="404" h="385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1" name="Freeform 8"/>
            <p:cNvSpPr/>
            <p:nvPr/>
          </p:nvSpPr>
          <p:spPr bwMode="auto"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0" t="0" r="r" b="b"/>
              <a:pathLst>
                <a:path w="774" h="144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2" name="Freeform 9"/>
            <p:cNvSpPr/>
            <p:nvPr/>
          </p:nvSpPr>
          <p:spPr bwMode="auto"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0" t="0" r="r" b="b"/>
              <a:pathLst>
                <a:path w="203" h="77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3" name="Freeform 10"/>
            <p:cNvSpPr/>
            <p:nvPr/>
          </p:nvSpPr>
          <p:spPr bwMode="auto"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0" t="0" r="r" b="b"/>
              <a:pathLst>
                <a:path w="351" h="332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4" name="Freeform 11"/>
            <p:cNvSpPr/>
            <p:nvPr/>
          </p:nvSpPr>
          <p:spPr bwMode="auto"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0" t="0" r="r" b="b"/>
              <a:pathLst>
                <a:path w="762" h="144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5" name="Freeform 12"/>
            <p:cNvSpPr/>
            <p:nvPr/>
          </p:nvSpPr>
          <p:spPr bwMode="auto"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0" t="0" r="r" b="b"/>
              <a:pathLst>
                <a:path w="140" h="54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6" name="Freeform 13"/>
            <p:cNvSpPr/>
            <p:nvPr/>
          </p:nvSpPr>
          <p:spPr bwMode="auto"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0" t="0" r="r" b="b"/>
              <a:pathLst>
                <a:path w="321" h="302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7" name="Freeform 14"/>
            <p:cNvSpPr/>
            <p:nvPr/>
          </p:nvSpPr>
          <p:spPr bwMode="auto"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0" t="0" r="r" b="b"/>
              <a:pathLst>
                <a:path w="683" h="144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8" name="Freeform 15"/>
            <p:cNvSpPr/>
            <p:nvPr/>
          </p:nvSpPr>
          <p:spPr bwMode="auto"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0" t="0" r="r" b="b"/>
              <a:pathLst>
                <a:path w="287" h="279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9" name="Freeform 16"/>
            <p:cNvSpPr/>
            <p:nvPr/>
          </p:nvSpPr>
          <p:spPr bwMode="auto"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0" t="0" r="r" b="b"/>
              <a:pathLst>
                <a:path w="680" h="144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0" name="Freeform 17"/>
            <p:cNvSpPr/>
            <p:nvPr/>
          </p:nvSpPr>
          <p:spPr bwMode="auto"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0" t="0" r="r" b="b"/>
              <a:pathLst>
                <a:path w="250" h="242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1" name="Freeform 18"/>
            <p:cNvSpPr/>
            <p:nvPr/>
          </p:nvSpPr>
          <p:spPr bwMode="auto"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0" t="0" r="r" b="b"/>
              <a:pathLst>
                <a:path w="720" h="144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2" name="Freeform 19"/>
            <p:cNvSpPr/>
            <p:nvPr/>
          </p:nvSpPr>
          <p:spPr bwMode="auto"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0" t="0" r="r" b="b"/>
              <a:pathLst>
                <a:path w="185" h="167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3" name="Freeform 20"/>
            <p:cNvSpPr/>
            <p:nvPr/>
          </p:nvSpPr>
          <p:spPr bwMode="auto"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0" t="0" r="r" b="b"/>
              <a:pathLst>
                <a:path w="572" h="144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4" name="Freeform 21"/>
            <p:cNvSpPr/>
            <p:nvPr/>
          </p:nvSpPr>
          <p:spPr bwMode="auto"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0" t="0" r="r" b="b"/>
              <a:pathLst>
                <a:path w="620" h="144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lg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5" name="Freeform 22"/>
            <p:cNvSpPr/>
            <p:nvPr/>
          </p:nvSpPr>
          <p:spPr bwMode="auto"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0" t="0" r="r" b="b"/>
              <a:pathLst>
                <a:path w="506" h="144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6" name="Freeform 23"/>
            <p:cNvSpPr/>
            <p:nvPr/>
          </p:nvSpPr>
          <p:spPr bwMode="auto"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0" t="0" r="r" b="b"/>
              <a:pathLst>
                <a:path w="373" h="673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7" name="Freeform 24"/>
            <p:cNvSpPr/>
            <p:nvPr/>
          </p:nvSpPr>
          <p:spPr bwMode="auto"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0" t="0" r="r" b="b"/>
              <a:pathLst>
                <a:path w="45" h="174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8" name="Freeform 25"/>
            <p:cNvSpPr/>
            <p:nvPr/>
          </p:nvSpPr>
          <p:spPr bwMode="auto"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0" t="0" r="r" b="b"/>
              <a:pathLst>
                <a:path w="329" h="469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</p:grpSp>
      <p:grpSp>
        <p:nvGrpSpPr>
          <p:cNvPr id="24" name="Group 23"/>
          <p:cNvGrpSpPr/>
          <p:nvPr/>
        </p:nvGrpSpPr>
        <p:grpSpPr>
          <a:xfrm>
            <a:off x="800144" y="1699589"/>
            <a:ext cx="3674476" cy="3470421"/>
            <a:chOff x="697883" y="1816768"/>
            <a:chExt cx="3674476" cy="3470421"/>
          </a:xfrm>
        </p:grpSpPr>
        <p:sp>
          <p:nvSpPr>
            <p:cNvPr id="25" name="Rectangle 24"/>
            <p:cNvSpPr/>
            <p:nvPr/>
          </p:nvSpPr>
          <p:spPr>
            <a:xfrm>
              <a:off x="697883" y="1816768"/>
              <a:ext cx="3674476" cy="5029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Isosceles Triangle 22"/>
            <p:cNvSpPr/>
            <p:nvPr/>
          </p:nvSpPr>
          <p:spPr>
            <a:xfrm rot="10800000">
              <a:off x="2380224" y="5014786"/>
              <a:ext cx="315988" cy="27240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6"/>
            <p:cNvSpPr/>
            <p:nvPr/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8632" y="2349925"/>
            <a:ext cx="3501196" cy="2456442"/>
          </a:xfrm>
        </p:spPr>
        <p:txBody>
          <a:bodyPr/>
          <a:lstStyle>
            <a:lvl1pPr>
              <a:defRPr>
                <a:solidFill>
                  <a:srgbClr val="FFFE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7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04672" y="320040"/>
            <a:ext cx="3657600" cy="320040"/>
          </a:xfrm>
        </p:spPr>
        <p:txBody>
          <a:bodyPr/>
          <a:lstStyle/>
          <a:p>
            <a:fld id="{48A87A34-81AB-432B-8DAE-1953F412C126}" type="datetimeFigureOut">
              <a:rPr lang="en-US" dirty="0"/>
              <a:t>4/7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4672" y="6227064"/>
            <a:ext cx="10588752" cy="32004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469880" y="320040"/>
            <a:ext cx="914400" cy="320040"/>
          </a:xfrm>
        </p:spPr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/>
          <p:nvPr/>
        </p:nvGrpSpPr>
        <p:grpSpPr>
          <a:xfrm>
            <a:off x="-417513" y="0"/>
            <a:ext cx="12584114" cy="6853238"/>
            <a:chOff x="-417513" y="0"/>
            <a:chExt cx="12584114" cy="6853238"/>
          </a:xfrm>
        </p:grpSpPr>
        <p:sp>
          <p:nvSpPr>
            <p:cNvPr id="75" name="Freeform 5"/>
            <p:cNvSpPr/>
            <p:nvPr/>
          </p:nvSpPr>
          <p:spPr bwMode="auto"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0" t="0" r="r" b="b"/>
              <a:pathLst>
                <a:path w="813" h="144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76" name="Freeform 6"/>
            <p:cNvSpPr/>
            <p:nvPr/>
          </p:nvSpPr>
          <p:spPr bwMode="auto"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0" t="0" r="r" b="b"/>
              <a:pathLst>
                <a:path w="324" h="117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77" name="Freeform 7"/>
            <p:cNvSpPr/>
            <p:nvPr/>
          </p:nvSpPr>
          <p:spPr bwMode="auto"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0" t="0" r="r" b="b"/>
              <a:pathLst>
                <a:path w="404" h="385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78" name="Freeform 8"/>
            <p:cNvSpPr/>
            <p:nvPr/>
          </p:nvSpPr>
          <p:spPr bwMode="auto"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0" t="0" r="r" b="b"/>
              <a:pathLst>
                <a:path w="774" h="144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79" name="Freeform 9"/>
            <p:cNvSpPr/>
            <p:nvPr/>
          </p:nvSpPr>
          <p:spPr bwMode="auto"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0" t="0" r="r" b="b"/>
              <a:pathLst>
                <a:path w="203" h="77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0" name="Freeform 10"/>
            <p:cNvSpPr/>
            <p:nvPr/>
          </p:nvSpPr>
          <p:spPr bwMode="auto"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0" t="0" r="r" b="b"/>
              <a:pathLst>
                <a:path w="351" h="332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1" name="Freeform 11"/>
            <p:cNvSpPr/>
            <p:nvPr/>
          </p:nvSpPr>
          <p:spPr bwMode="auto"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0" t="0" r="r" b="b"/>
              <a:pathLst>
                <a:path w="762" h="144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2" name="Freeform 12"/>
            <p:cNvSpPr/>
            <p:nvPr/>
          </p:nvSpPr>
          <p:spPr bwMode="auto"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0" t="0" r="r" b="b"/>
              <a:pathLst>
                <a:path w="140" h="54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3" name="Freeform 13"/>
            <p:cNvSpPr/>
            <p:nvPr/>
          </p:nvSpPr>
          <p:spPr bwMode="auto"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0" t="0" r="r" b="b"/>
              <a:pathLst>
                <a:path w="321" h="302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4" name="Freeform 14"/>
            <p:cNvSpPr/>
            <p:nvPr/>
          </p:nvSpPr>
          <p:spPr bwMode="auto"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0" t="0" r="r" b="b"/>
              <a:pathLst>
                <a:path w="683" h="144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5" name="Freeform 15"/>
            <p:cNvSpPr/>
            <p:nvPr/>
          </p:nvSpPr>
          <p:spPr bwMode="auto"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0" t="0" r="r" b="b"/>
              <a:pathLst>
                <a:path w="287" h="279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6" name="Freeform 16"/>
            <p:cNvSpPr/>
            <p:nvPr/>
          </p:nvSpPr>
          <p:spPr bwMode="auto"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0" t="0" r="r" b="b"/>
              <a:pathLst>
                <a:path w="680" h="144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7" name="Freeform 17"/>
            <p:cNvSpPr/>
            <p:nvPr/>
          </p:nvSpPr>
          <p:spPr bwMode="auto"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0" t="0" r="r" b="b"/>
              <a:pathLst>
                <a:path w="250" h="242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8" name="Freeform 18"/>
            <p:cNvSpPr/>
            <p:nvPr/>
          </p:nvSpPr>
          <p:spPr bwMode="auto"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0" t="0" r="r" b="b"/>
              <a:pathLst>
                <a:path w="720" h="144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9" name="Freeform 19"/>
            <p:cNvSpPr/>
            <p:nvPr/>
          </p:nvSpPr>
          <p:spPr bwMode="auto"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0" t="0" r="r" b="b"/>
              <a:pathLst>
                <a:path w="185" h="167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0" name="Freeform 20"/>
            <p:cNvSpPr/>
            <p:nvPr/>
          </p:nvSpPr>
          <p:spPr bwMode="auto"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0" t="0" r="r" b="b"/>
              <a:pathLst>
                <a:path w="572" h="144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1" name="Freeform 21"/>
            <p:cNvSpPr/>
            <p:nvPr/>
          </p:nvSpPr>
          <p:spPr bwMode="auto"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0" t="0" r="r" b="b"/>
              <a:pathLst>
                <a:path w="620" h="144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lg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2" name="Freeform 22"/>
            <p:cNvSpPr/>
            <p:nvPr/>
          </p:nvSpPr>
          <p:spPr bwMode="auto"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0" t="0" r="r" b="b"/>
              <a:pathLst>
                <a:path w="506" h="144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3" name="Freeform 23"/>
            <p:cNvSpPr/>
            <p:nvPr/>
          </p:nvSpPr>
          <p:spPr bwMode="auto"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0" t="0" r="r" b="b"/>
              <a:pathLst>
                <a:path w="373" h="673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4" name="Freeform 24"/>
            <p:cNvSpPr/>
            <p:nvPr/>
          </p:nvSpPr>
          <p:spPr bwMode="auto"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0" t="0" r="r" b="b"/>
              <a:pathLst>
                <a:path w="45" h="174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5" name="Freeform 25"/>
            <p:cNvSpPr/>
            <p:nvPr/>
          </p:nvSpPr>
          <p:spPr bwMode="auto"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0" t="0" r="r" b="b"/>
              <a:pathLst>
                <a:path w="329" h="469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</p:grpSp>
      <p:grpSp>
        <p:nvGrpSpPr>
          <p:cNvPr id="21" name="Group 20"/>
          <p:cNvGrpSpPr/>
          <p:nvPr/>
        </p:nvGrpSpPr>
        <p:grpSpPr>
          <a:xfrm>
            <a:off x="800144" y="1699589"/>
            <a:ext cx="3674476" cy="3470421"/>
            <a:chOff x="697883" y="1816768"/>
            <a:chExt cx="3674476" cy="3470421"/>
          </a:xfrm>
        </p:grpSpPr>
        <p:sp>
          <p:nvSpPr>
            <p:cNvPr id="22" name="Rectangle 21"/>
            <p:cNvSpPr/>
            <p:nvPr/>
          </p:nvSpPr>
          <p:spPr>
            <a:xfrm>
              <a:off x="697883" y="1816768"/>
              <a:ext cx="3674476" cy="5029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32" name="Isosceles Triangle 22"/>
            <p:cNvSpPr/>
            <p:nvPr/>
          </p:nvSpPr>
          <p:spPr>
            <a:xfrm rot="10800000">
              <a:off x="2380224" y="5014786"/>
              <a:ext cx="315988" cy="27240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33" name="Rectangle 32"/>
            <p:cNvSpPr/>
            <p:nvPr/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8631" y="2352026"/>
            <a:ext cx="3501197" cy="1223298"/>
          </a:xfrm>
        </p:spPr>
        <p:txBody>
          <a:bodyPr bIns="0" anchor="b">
            <a:noAutofit/>
          </a:bodyPr>
          <a:lstStyle>
            <a:lvl1pPr algn="ctr">
              <a:defRPr sz="3200">
                <a:solidFill>
                  <a:srgbClr val="FFFE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09983" y="802809"/>
            <a:ext cx="6275035" cy="5249940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8631" y="3580186"/>
            <a:ext cx="3501197" cy="1221164"/>
          </a:xfrm>
        </p:spPr>
        <p:txBody>
          <a:bodyPr/>
          <a:lstStyle>
            <a:lvl1pPr marL="0" indent="0" algn="ctr">
              <a:buNone/>
              <a:defRPr sz="1600">
                <a:solidFill>
                  <a:srgbClr val="FFFEFF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" name="Group 72"/>
          <p:cNvGrpSpPr/>
          <p:nvPr/>
        </p:nvGrpSpPr>
        <p:grpSpPr>
          <a:xfrm>
            <a:off x="-329674" y="-59376"/>
            <a:ext cx="12515851" cy="6923798"/>
            <a:chOff x="-329674" y="-51881"/>
            <a:chExt cx="12515851" cy="6923798"/>
          </a:xfrm>
        </p:grpSpPr>
        <p:sp>
          <p:nvSpPr>
            <p:cNvPr id="81" name="Freeform 5"/>
            <p:cNvSpPr/>
            <p:nvPr/>
          </p:nvSpPr>
          <p:spPr bwMode="auto">
            <a:xfrm>
              <a:off x="-329674" y="1298404"/>
              <a:ext cx="9702800" cy="5573512"/>
            </a:xfrm>
            <a:custGeom>
              <a:avLst/>
              <a:gdLst/>
              <a:ahLst/>
              <a:cxnLst/>
              <a:rect l="0" t="0" r="r" b="b"/>
              <a:pathLst>
                <a:path w="2038" h="1169">
                  <a:moveTo>
                    <a:pt x="1752" y="1169"/>
                  </a:moveTo>
                  <a:cubicBezTo>
                    <a:pt x="2038" y="928"/>
                    <a:pt x="1673" y="513"/>
                    <a:pt x="1487" y="334"/>
                  </a:cubicBezTo>
                  <a:cubicBezTo>
                    <a:pt x="1316" y="170"/>
                    <a:pt x="1099" y="43"/>
                    <a:pt x="860" y="22"/>
                  </a:cubicBezTo>
                  <a:cubicBezTo>
                    <a:pt x="621" y="0"/>
                    <a:pt x="341" y="128"/>
                    <a:pt x="199" y="318"/>
                  </a:cubicBezTo>
                  <a:cubicBezTo>
                    <a:pt x="0" y="586"/>
                    <a:pt x="184" y="965"/>
                    <a:pt x="399" y="1165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2" name="Freeform 6"/>
            <p:cNvSpPr/>
            <p:nvPr/>
          </p:nvSpPr>
          <p:spPr bwMode="auto">
            <a:xfrm>
              <a:off x="670451" y="2018236"/>
              <a:ext cx="7373938" cy="4848892"/>
            </a:xfrm>
            <a:custGeom>
              <a:avLst/>
              <a:gdLst/>
              <a:ahLst/>
              <a:cxnLst/>
              <a:rect l="0" t="0" r="r" b="b"/>
              <a:pathLst>
                <a:path w="1549" h="1017">
                  <a:moveTo>
                    <a:pt x="1025" y="1016"/>
                  </a:moveTo>
                  <a:cubicBezTo>
                    <a:pt x="1223" y="971"/>
                    <a:pt x="1549" y="857"/>
                    <a:pt x="1443" y="592"/>
                  </a:cubicBezTo>
                  <a:cubicBezTo>
                    <a:pt x="1344" y="344"/>
                    <a:pt x="1041" y="111"/>
                    <a:pt x="782" y="53"/>
                  </a:cubicBezTo>
                  <a:cubicBezTo>
                    <a:pt x="545" y="0"/>
                    <a:pt x="275" y="117"/>
                    <a:pt x="150" y="329"/>
                  </a:cubicBezTo>
                  <a:cubicBezTo>
                    <a:pt x="0" y="584"/>
                    <a:pt x="243" y="911"/>
                    <a:pt x="477" y="1017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3" name="Freeform 7"/>
            <p:cNvSpPr/>
            <p:nvPr/>
          </p:nvSpPr>
          <p:spPr bwMode="auto">
            <a:xfrm>
              <a:off x="251351" y="1788400"/>
              <a:ext cx="8035925" cy="5083516"/>
            </a:xfrm>
            <a:custGeom>
              <a:avLst/>
              <a:gdLst/>
              <a:ahLst/>
              <a:cxnLst/>
              <a:rect l="0" t="0" r="r" b="b"/>
              <a:pathLst>
                <a:path w="1688" h="1066">
                  <a:moveTo>
                    <a:pt x="1302" y="1066"/>
                  </a:moveTo>
                  <a:cubicBezTo>
                    <a:pt x="1416" y="1024"/>
                    <a:pt x="1551" y="962"/>
                    <a:pt x="1613" y="850"/>
                  </a:cubicBezTo>
                  <a:cubicBezTo>
                    <a:pt x="1688" y="715"/>
                    <a:pt x="1606" y="575"/>
                    <a:pt x="1517" y="471"/>
                  </a:cubicBezTo>
                  <a:cubicBezTo>
                    <a:pt x="1336" y="258"/>
                    <a:pt x="1084" y="62"/>
                    <a:pt x="798" y="28"/>
                  </a:cubicBezTo>
                  <a:cubicBezTo>
                    <a:pt x="559" y="0"/>
                    <a:pt x="317" y="138"/>
                    <a:pt x="181" y="333"/>
                  </a:cubicBezTo>
                  <a:cubicBezTo>
                    <a:pt x="0" y="592"/>
                    <a:pt x="191" y="907"/>
                    <a:pt x="420" y="1066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4" name="Freeform 8"/>
            <p:cNvSpPr/>
            <p:nvPr/>
          </p:nvSpPr>
          <p:spPr bwMode="auto">
            <a:xfrm>
              <a:off x="-1061" y="549842"/>
              <a:ext cx="10334625" cy="6322075"/>
            </a:xfrm>
            <a:custGeom>
              <a:avLst/>
              <a:gdLst/>
              <a:ahLst/>
              <a:cxnLst/>
              <a:rect l="0" t="0" r="r" b="b"/>
              <a:pathLst>
                <a:path w="2171" h="1326">
                  <a:moveTo>
                    <a:pt x="1873" y="1326"/>
                  </a:moveTo>
                  <a:cubicBezTo>
                    <a:pt x="2171" y="1045"/>
                    <a:pt x="1825" y="678"/>
                    <a:pt x="1609" y="473"/>
                  </a:cubicBezTo>
                  <a:cubicBezTo>
                    <a:pt x="1406" y="281"/>
                    <a:pt x="1159" y="116"/>
                    <a:pt x="880" y="63"/>
                  </a:cubicBezTo>
                  <a:cubicBezTo>
                    <a:pt x="545" y="0"/>
                    <a:pt x="214" y="161"/>
                    <a:pt x="0" y="42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5" name="Freeform 9"/>
            <p:cNvSpPr/>
            <p:nvPr/>
          </p:nvSpPr>
          <p:spPr bwMode="auto">
            <a:xfrm>
              <a:off x="3701" y="6186246"/>
              <a:ext cx="504825" cy="681527"/>
            </a:xfrm>
            <a:custGeom>
              <a:avLst/>
              <a:gdLst/>
              <a:ahLst/>
              <a:cxnLst/>
              <a:rect l="0" t="0" r="r" b="b"/>
              <a:pathLst>
                <a:path w="106" h="143">
                  <a:moveTo>
                    <a:pt x="0" y="0"/>
                  </a:moveTo>
                  <a:cubicBezTo>
                    <a:pt x="35" y="54"/>
                    <a:pt x="70" y="101"/>
                    <a:pt x="106" y="143"/>
                  </a:cubicBezTo>
                </a:path>
              </a:pathLst>
            </a:custGeom>
            <a:noFill/>
            <a:ln w="4763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6" name="Freeform 10"/>
            <p:cNvSpPr/>
            <p:nvPr/>
          </p:nvSpPr>
          <p:spPr bwMode="auto">
            <a:xfrm>
              <a:off x="-1061" y="-51881"/>
              <a:ext cx="11091863" cy="6923796"/>
            </a:xfrm>
            <a:custGeom>
              <a:avLst/>
              <a:gdLst/>
              <a:ahLst/>
              <a:cxnLst/>
              <a:rect l="0" t="0" r="r" b="b"/>
              <a:pathLst>
                <a:path w="2330" h="1452">
                  <a:moveTo>
                    <a:pt x="2046" y="1452"/>
                  </a:moveTo>
                  <a:cubicBezTo>
                    <a:pt x="2330" y="1153"/>
                    <a:pt x="2049" y="821"/>
                    <a:pt x="1813" y="601"/>
                  </a:cubicBezTo>
                  <a:cubicBezTo>
                    <a:pt x="1569" y="375"/>
                    <a:pt x="1282" y="179"/>
                    <a:pt x="956" y="97"/>
                  </a:cubicBezTo>
                  <a:cubicBezTo>
                    <a:pt x="572" y="0"/>
                    <a:pt x="292" y="101"/>
                    <a:pt x="0" y="366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7" name="Freeform 11"/>
            <p:cNvSpPr/>
            <p:nvPr/>
          </p:nvSpPr>
          <p:spPr bwMode="auto">
            <a:xfrm>
              <a:off x="5426601" y="5579"/>
              <a:ext cx="5788025" cy="6847184"/>
            </a:xfrm>
            <a:custGeom>
              <a:avLst/>
              <a:gdLst/>
              <a:ahLst/>
              <a:cxnLst/>
              <a:rect l="0" t="0" r="r" b="b"/>
              <a:pathLst>
                <a:path w="1216" h="1436">
                  <a:moveTo>
                    <a:pt x="1094" y="1436"/>
                  </a:moveTo>
                  <a:cubicBezTo>
                    <a:pt x="1216" y="1114"/>
                    <a:pt x="904" y="770"/>
                    <a:pt x="709" y="551"/>
                  </a:cubicBezTo>
                  <a:cubicBezTo>
                    <a:pt x="509" y="327"/>
                    <a:pt x="274" y="127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8" name="Freeform 12"/>
            <p:cNvSpPr/>
            <p:nvPr/>
          </p:nvSpPr>
          <p:spPr bwMode="auto">
            <a:xfrm>
              <a:off x="-1061" y="5579"/>
              <a:ext cx="1057275" cy="614491"/>
            </a:xfrm>
            <a:custGeom>
              <a:avLst/>
              <a:gdLst/>
              <a:ahLst/>
              <a:cxnLst/>
              <a:rect l="0" t="0" r="r" b="b"/>
              <a:pathLst>
                <a:path w="222" h="129">
                  <a:moveTo>
                    <a:pt x="222" y="0"/>
                  </a:moveTo>
                  <a:cubicBezTo>
                    <a:pt x="152" y="35"/>
                    <a:pt x="76" y="78"/>
                    <a:pt x="0" y="12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9" name="Freeform 13"/>
            <p:cNvSpPr/>
            <p:nvPr/>
          </p:nvSpPr>
          <p:spPr bwMode="auto">
            <a:xfrm>
              <a:off x="5821889" y="5579"/>
              <a:ext cx="5588000" cy="6866337"/>
            </a:xfrm>
            <a:custGeom>
              <a:avLst/>
              <a:gdLst/>
              <a:ahLst/>
              <a:cxnLst/>
              <a:rect l="0" t="0" r="r" b="b"/>
              <a:pathLst>
                <a:path w="1174" h="1440">
                  <a:moveTo>
                    <a:pt x="1067" y="1440"/>
                  </a:moveTo>
                  <a:cubicBezTo>
                    <a:pt x="1174" y="1124"/>
                    <a:pt x="887" y="797"/>
                    <a:pt x="698" y="577"/>
                  </a:cubicBezTo>
                  <a:cubicBezTo>
                    <a:pt x="500" y="348"/>
                    <a:pt x="270" y="14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0" name="Freeform 14"/>
            <p:cNvSpPr/>
            <p:nvPr/>
          </p:nvSpPr>
          <p:spPr bwMode="auto">
            <a:xfrm>
              <a:off x="3701" y="790"/>
              <a:ext cx="595313" cy="352734"/>
            </a:xfrm>
            <a:custGeom>
              <a:avLst/>
              <a:gdLst/>
              <a:ahLst/>
              <a:cxnLst/>
              <a:rect l="0" t="0" r="r" b="b"/>
              <a:pathLst>
                <a:path w="125" h="74">
                  <a:moveTo>
                    <a:pt x="125" y="0"/>
                  </a:moveTo>
                  <a:cubicBezTo>
                    <a:pt x="85" y="22"/>
                    <a:pt x="43" y="47"/>
                    <a:pt x="0" y="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1" name="Freeform 15"/>
            <p:cNvSpPr/>
            <p:nvPr/>
          </p:nvSpPr>
          <p:spPr bwMode="auto">
            <a:xfrm>
              <a:off x="6012389" y="5579"/>
              <a:ext cx="5497513" cy="6866337"/>
            </a:xfrm>
            <a:custGeom>
              <a:avLst/>
              <a:gdLst/>
              <a:ahLst/>
              <a:cxnLst/>
              <a:rect l="0" t="0" r="r" b="b"/>
              <a:pathLst>
                <a:path w="1155" h="1440">
                  <a:moveTo>
                    <a:pt x="1056" y="1440"/>
                  </a:moveTo>
                  <a:cubicBezTo>
                    <a:pt x="1155" y="1123"/>
                    <a:pt x="875" y="801"/>
                    <a:pt x="686" y="580"/>
                  </a:cubicBezTo>
                  <a:cubicBezTo>
                    <a:pt x="491" y="352"/>
                    <a:pt x="264" y="145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2" name="Freeform 16"/>
            <p:cNvSpPr/>
            <p:nvPr/>
          </p:nvSpPr>
          <p:spPr bwMode="auto">
            <a:xfrm>
              <a:off x="-1061" y="5579"/>
              <a:ext cx="357188" cy="213875"/>
            </a:xfrm>
            <a:custGeom>
              <a:avLst/>
              <a:gdLst/>
              <a:ahLst/>
              <a:cxnLst/>
              <a:rect l="0" t="0" r="r" b="b"/>
              <a:pathLst>
                <a:path w="75" h="45">
                  <a:moveTo>
                    <a:pt x="75" y="0"/>
                  </a:moveTo>
                  <a:cubicBezTo>
                    <a:pt x="50" y="14"/>
                    <a:pt x="25" y="29"/>
                    <a:pt x="0" y="45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3" name="Freeform 17"/>
            <p:cNvSpPr/>
            <p:nvPr/>
          </p:nvSpPr>
          <p:spPr bwMode="auto">
            <a:xfrm>
              <a:off x="6210826" y="790"/>
              <a:ext cx="5522913" cy="6871126"/>
            </a:xfrm>
            <a:custGeom>
              <a:avLst/>
              <a:gdLst/>
              <a:ahLst/>
              <a:cxnLst/>
              <a:rect l="0" t="0" r="r" b="b"/>
              <a:pathLst>
                <a:path w="1160" h="1441">
                  <a:moveTo>
                    <a:pt x="1053" y="1441"/>
                  </a:moveTo>
                  <a:cubicBezTo>
                    <a:pt x="1160" y="1129"/>
                    <a:pt x="892" y="817"/>
                    <a:pt x="705" y="599"/>
                  </a:cubicBezTo>
                  <a:cubicBezTo>
                    <a:pt x="503" y="365"/>
                    <a:pt x="270" y="152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4" name="Freeform 18"/>
            <p:cNvSpPr/>
            <p:nvPr/>
          </p:nvSpPr>
          <p:spPr bwMode="auto">
            <a:xfrm>
              <a:off x="6463239" y="5579"/>
              <a:ext cx="5413375" cy="6866337"/>
            </a:xfrm>
            <a:custGeom>
              <a:avLst/>
              <a:gdLst/>
              <a:ahLst/>
              <a:cxnLst/>
              <a:rect l="0" t="0" r="r" b="b"/>
              <a:pathLst>
                <a:path w="1137" h="1440">
                  <a:moveTo>
                    <a:pt x="1040" y="1440"/>
                  </a:moveTo>
                  <a:cubicBezTo>
                    <a:pt x="1137" y="1131"/>
                    <a:pt x="883" y="828"/>
                    <a:pt x="698" y="611"/>
                  </a:cubicBezTo>
                  <a:cubicBezTo>
                    <a:pt x="498" y="375"/>
                    <a:pt x="268" y="159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5" name="Freeform 19"/>
            <p:cNvSpPr/>
            <p:nvPr/>
          </p:nvSpPr>
          <p:spPr bwMode="auto">
            <a:xfrm>
              <a:off x="6877576" y="5579"/>
              <a:ext cx="5037138" cy="6861550"/>
            </a:xfrm>
            <a:custGeom>
              <a:avLst/>
              <a:gdLst/>
              <a:ahLst/>
              <a:cxnLst/>
              <a:rect l="0" t="0" r="r" b="b"/>
              <a:pathLst>
                <a:path w="1058" h="1439">
                  <a:moveTo>
                    <a:pt x="1011" y="1439"/>
                  </a:moveTo>
                  <a:cubicBezTo>
                    <a:pt x="1058" y="1131"/>
                    <a:pt x="825" y="841"/>
                    <a:pt x="648" y="617"/>
                  </a:cubicBezTo>
                  <a:cubicBezTo>
                    <a:pt x="462" y="383"/>
                    <a:pt x="248" y="16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6" name="Freeform 20"/>
            <p:cNvSpPr/>
            <p:nvPr/>
          </p:nvSpPr>
          <p:spPr bwMode="auto">
            <a:xfrm>
              <a:off x="8768289" y="5579"/>
              <a:ext cx="3417888" cy="2742066"/>
            </a:xfrm>
            <a:custGeom>
              <a:avLst/>
              <a:gdLst/>
              <a:ahLst/>
              <a:cxnLst/>
              <a:rect l="0" t="0" r="r" b="b"/>
              <a:pathLst>
                <a:path w="718" h="575">
                  <a:moveTo>
                    <a:pt x="718" y="575"/>
                  </a:moveTo>
                  <a:cubicBezTo>
                    <a:pt x="500" y="360"/>
                    <a:pt x="260" y="163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7" name="Freeform 21"/>
            <p:cNvSpPr/>
            <p:nvPr/>
          </p:nvSpPr>
          <p:spPr bwMode="auto">
            <a:xfrm>
              <a:off x="9235014" y="10367"/>
              <a:ext cx="2951163" cy="2555325"/>
            </a:xfrm>
            <a:custGeom>
              <a:avLst/>
              <a:gdLst/>
              <a:ahLst/>
              <a:cxnLst/>
              <a:rect l="0" t="0" r="r" b="b"/>
              <a:pathLst>
                <a:path w="620" h="536">
                  <a:moveTo>
                    <a:pt x="620" y="536"/>
                  </a:moveTo>
                  <a:cubicBezTo>
                    <a:pt x="404" y="314"/>
                    <a:pt x="196" y="13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8" name="Freeform 22"/>
            <p:cNvSpPr/>
            <p:nvPr/>
          </p:nvSpPr>
          <p:spPr bwMode="auto">
            <a:xfrm>
              <a:off x="10020826" y="5579"/>
              <a:ext cx="2165350" cy="1358265"/>
            </a:xfrm>
            <a:custGeom>
              <a:avLst/>
              <a:gdLst/>
              <a:ahLst/>
              <a:cxnLst/>
              <a:rect l="0" t="0" r="r" b="b"/>
              <a:pathLst>
                <a:path w="455" h="285">
                  <a:moveTo>
                    <a:pt x="0" y="0"/>
                  </a:moveTo>
                  <a:cubicBezTo>
                    <a:pt x="153" y="85"/>
                    <a:pt x="308" y="180"/>
                    <a:pt x="455" y="285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9" name="Freeform 23"/>
            <p:cNvSpPr/>
            <p:nvPr/>
          </p:nvSpPr>
          <p:spPr bwMode="auto">
            <a:xfrm>
              <a:off x="11290826" y="5579"/>
              <a:ext cx="895350" cy="534687"/>
            </a:xfrm>
            <a:custGeom>
              <a:avLst/>
              <a:gdLst/>
              <a:ahLst/>
              <a:cxnLst/>
              <a:rect l="0" t="0" r="r" b="b"/>
              <a:pathLst>
                <a:path w="188" h="112">
                  <a:moveTo>
                    <a:pt x="0" y="0"/>
                  </a:moveTo>
                  <a:cubicBezTo>
                    <a:pt x="63" y="36"/>
                    <a:pt x="126" y="73"/>
                    <a:pt x="188" y="112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</p:grpSp>
      <p:grpSp>
        <p:nvGrpSpPr>
          <p:cNvPr id="76" name="Group 75"/>
          <p:cNvGrpSpPr/>
          <p:nvPr/>
        </p:nvGrpSpPr>
        <p:grpSpPr>
          <a:xfrm>
            <a:off x="805336" y="1698331"/>
            <a:ext cx="5941540" cy="3470421"/>
            <a:chOff x="805336" y="1698331"/>
            <a:chExt cx="5941540" cy="3470421"/>
          </a:xfrm>
        </p:grpSpPr>
        <p:sp>
          <p:nvSpPr>
            <p:cNvPr id="77" name="Rectangle 76"/>
            <p:cNvSpPr/>
            <p:nvPr/>
          </p:nvSpPr>
          <p:spPr>
            <a:xfrm>
              <a:off x="805336" y="1698331"/>
              <a:ext cx="5941540" cy="5029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78" name="Isosceles Triangle 9"/>
            <p:cNvSpPr/>
            <p:nvPr/>
          </p:nvSpPr>
          <p:spPr>
            <a:xfrm rot="10800000">
              <a:off x="3618113" y="4896349"/>
              <a:ext cx="315988" cy="27240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79" name="Rectangle 78"/>
            <p:cNvSpPr/>
            <p:nvPr/>
          </p:nvSpPr>
          <p:spPr>
            <a:xfrm>
              <a:off x="805336" y="2274403"/>
              <a:ext cx="5941540" cy="26243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543510" y="0"/>
            <a:ext cx="4648490" cy="6858000"/>
          </a:xfrm>
          <a:solidFill>
            <a:schemeClr val="bg1">
              <a:lumMod val="65000"/>
              <a:lumOff val="3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5443" y="2360255"/>
            <a:ext cx="5776646" cy="1178032"/>
          </a:xfrm>
        </p:spPr>
        <p:txBody>
          <a:bodyPr bIns="0" anchor="b">
            <a:normAutofit/>
          </a:bodyPr>
          <a:lstStyle>
            <a:lvl1pPr>
              <a:defRPr sz="3600">
                <a:solidFill>
                  <a:srgbClr val="FFFE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5443" y="3545012"/>
            <a:ext cx="5776646" cy="127419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rgbClr val="FFFEFF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04672" y="320040"/>
            <a:ext cx="3657600" cy="320040"/>
          </a:xfrm>
        </p:spPr>
        <p:txBody>
          <a:bodyPr/>
          <a:lstStyle/>
          <a:p>
            <a:fld id="{48A87A34-81AB-432B-8DAE-1953F412C126}" type="datetimeFigureOut">
              <a:rPr lang="en-US" dirty="0"/>
              <a:t>4/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804672" y="6227064"/>
            <a:ext cx="5942203" cy="32004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828377" y="320040"/>
            <a:ext cx="914400" cy="320040"/>
          </a:xfrm>
        </p:spPr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C57519B-43B0-43F5-A00A-BD8D8B9454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671368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52059B8-A311-4705-A1A3-5F613CD304AB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91161" y="2358391"/>
            <a:ext cx="3498667" cy="2456485"/>
          </a:xfrm>
          <a:prstGeom prst="rect">
            <a:avLst/>
          </a:prstGeom>
        </p:spPr>
        <p:txBody>
          <a:bodyPr vert="horz" lIns="228600" tIns="228600" rIns="228600" bIns="22860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34982" y="794719"/>
            <a:ext cx="5950036" cy="52570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4672" y="320040"/>
            <a:ext cx="3657600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4/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04672" y="6227064"/>
            <a:ext cx="10588752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69880" y="320040"/>
            <a:ext cx="914400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lnSpc>
          <a:spcPct val="85000"/>
        </a:lnSpc>
        <a:spcBef>
          <a:spcPct val="0"/>
        </a:spcBef>
        <a:buNone/>
        <a:defRPr sz="4000" b="0" i="0" kern="1200" cap="none" spc="-150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10000"/>
        <a:buFont typeface="Wingdings" panose="05000000000000000000" pitchFamily="2" charset="2"/>
        <a:buChar char="§"/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10000"/>
        <a:buFont typeface="Wingdings" panose="05000000000000000000" pitchFamily="2" charset="2"/>
        <a:buChar char="§"/>
        <a:defRPr sz="14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10000"/>
        <a:buFont typeface="Wingdings" panose="05000000000000000000" pitchFamily="2" charset="2"/>
        <a:buChar char="§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10000"/>
        <a:buFont typeface="Wingdings" panose="05000000000000000000" pitchFamily="2" charset="2"/>
        <a:buChar char="§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10000"/>
        <a:buFont typeface="Wingdings" panose="05000000000000000000" pitchFamily="2" charset="2"/>
        <a:buChar char="§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10000"/>
        <a:buFont typeface="Wingdings" panose="05000000000000000000" pitchFamily="2" charset="2"/>
        <a:buChar char="§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10000"/>
        <a:buFont typeface="Wingdings" panose="05000000000000000000" pitchFamily="2" charset="2"/>
        <a:buChar char="§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10000"/>
        <a:buFont typeface="Wingdings" panose="05000000000000000000" pitchFamily="2" charset="2"/>
        <a:buChar char="§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sv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sv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1.xlsx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wmf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package" Target="../embeddings/Microsoft_Excel_Worksheet.xlsx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7.w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sv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10.w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EB72C34-2EAF-4457-9BFC-F701FC6FC6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4108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EAF34DB-8E21-417C-812C-BE7F91371B9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5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742905-BE5E-466D-99F6-DBC5D47876B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elecom Network Analytic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979420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1E1FF6-B770-4114-9617-F895FD3668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8929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E6D717B-28F1-48EC-82D2-FA1B6145C3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FA9757-9A39-441E-A01D-0A4CA80DA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lem Statement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A6F3C5-F631-43C1-8E7E-3D116216EB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usiness Problem: </a:t>
            </a:r>
          </a:p>
          <a:p>
            <a:pPr lvl="1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equirement from the Network operators to suggest remedial step to be taken for improving a KPI.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What could be the analytical problem?</a:t>
            </a:r>
          </a:p>
          <a:p>
            <a:pPr lvl="1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uild a model which helps to predict possible remedial step.</a:t>
            </a:r>
          </a:p>
          <a:p>
            <a:pPr lvl="1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he remedial action should come from the past learning and acts as a basis for machine learning</a:t>
            </a:r>
            <a:endParaRPr lang="en-IN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31A323C-A3A7-49A8-B958-B6F50927E5D4}"/>
              </a:ext>
            </a:extLst>
          </p:cNvPr>
          <p:cNvSpPr txBox="1"/>
          <p:nvPr/>
        </p:nvSpPr>
        <p:spPr>
          <a:xfrm>
            <a:off x="3799840" y="5852160"/>
            <a:ext cx="4470400" cy="369332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problem well defined is half solved</a:t>
            </a:r>
            <a:endParaRPr lang="en-IN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Graphic 7" descr="Bar graph with upward trend">
            <a:extLst>
              <a:ext uri="{FF2B5EF4-FFF2-40B4-BE49-F238E27FC236}">
                <a16:creationId xmlns:a16="http://schemas.microsoft.com/office/drawing/2014/main" id="{05483C41-4ED8-4538-8BDA-FB352A745E3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556240" y="56388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4531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27BD861-5333-46F8-9885-E69E7C85E3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5119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7149161-C73E-45E9-AEEB-71A207AABAE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D0084A-E3F2-4129-8417-0DEB0D73BB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at hand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7B15E4-5744-479F-AE0A-C79DDDF307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elecom Network data for various towers/sites where in the KPI(Key Performance Indicator) needs to be improved.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lso we have the remedies taken in the past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Lets explore the dataset more in details</a:t>
            </a:r>
          </a:p>
        </p:txBody>
      </p:sp>
      <p:pic>
        <p:nvPicPr>
          <p:cNvPr id="7" name="Graphic 6" descr="Cell Tower">
            <a:extLst>
              <a:ext uri="{FF2B5EF4-FFF2-40B4-BE49-F238E27FC236}">
                <a16:creationId xmlns:a16="http://schemas.microsoft.com/office/drawing/2014/main" id="{25ABA682-9A89-42B7-8DA8-771C8C9EEE3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46360" y="726440"/>
            <a:ext cx="1183640" cy="1183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3118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9E89CDF-5362-48C3-B3E9-5F2AA2B51A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0048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CE06C5B-5A6F-4935-AE15-2AB236C036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8EEBFF-A693-44FF-8F7F-CDB78907E3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set explained</a:t>
            </a:r>
            <a:endParaRPr lang="en-IN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F591EFFE-585D-4D84-96F6-FE8DD3D6382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45418315"/>
              </p:ext>
            </p:extLst>
          </p:nvPr>
        </p:nvGraphicFramePr>
        <p:xfrm>
          <a:off x="5016976" y="1117281"/>
          <a:ext cx="6423184" cy="464344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22756">
                  <a:extLst>
                    <a:ext uri="{9D8B030D-6E8A-4147-A177-3AD203B41FA5}">
                      <a16:colId xmlns:a16="http://schemas.microsoft.com/office/drawing/2014/main" val="618725595"/>
                    </a:ext>
                  </a:extLst>
                </a:gridCol>
                <a:gridCol w="1301951">
                  <a:extLst>
                    <a:ext uri="{9D8B030D-6E8A-4147-A177-3AD203B41FA5}">
                      <a16:colId xmlns:a16="http://schemas.microsoft.com/office/drawing/2014/main" val="4021552389"/>
                    </a:ext>
                  </a:extLst>
                </a:gridCol>
                <a:gridCol w="3798477">
                  <a:extLst>
                    <a:ext uri="{9D8B030D-6E8A-4147-A177-3AD203B41FA5}">
                      <a16:colId xmlns:a16="http://schemas.microsoft.com/office/drawing/2014/main" val="3241011888"/>
                    </a:ext>
                  </a:extLst>
                </a:gridCol>
              </a:tblGrid>
              <a:tr h="538777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IN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Field</a:t>
                      </a:r>
                      <a:endParaRPr lang="en-IN" sz="1100">
                        <a:solidFill>
                          <a:srgbClr val="353744"/>
                        </a:solidFill>
                        <a:effectLst/>
                        <a:latin typeface="Arial" panose="020B0604020202020204" pitchFamily="34" charset="0"/>
                        <a:ea typeface="Proxima Nov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IN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pected Data type</a:t>
                      </a:r>
                      <a:endParaRPr lang="en-IN" sz="1100">
                        <a:solidFill>
                          <a:srgbClr val="353744"/>
                        </a:solidFill>
                        <a:effectLst/>
                        <a:latin typeface="Arial" panose="020B0604020202020204" pitchFamily="34" charset="0"/>
                        <a:ea typeface="Proxima Nov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IN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  <a:endParaRPr lang="en-IN" sz="1100">
                        <a:solidFill>
                          <a:srgbClr val="353744"/>
                        </a:solidFill>
                        <a:effectLst/>
                        <a:latin typeface="Arial" panose="020B0604020202020204" pitchFamily="34" charset="0"/>
                        <a:ea typeface="Proxima Nov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076798480"/>
                  </a:ext>
                </a:extLst>
              </a:tr>
              <a:tr h="45061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IN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ll ID</a:t>
                      </a:r>
                      <a:endParaRPr lang="en-IN" sz="1400" dirty="0">
                        <a:solidFill>
                          <a:srgbClr val="353744"/>
                        </a:solidFill>
                        <a:effectLst/>
                        <a:latin typeface="Arial" panose="020B0604020202020204" pitchFamily="34" charset="0"/>
                        <a:ea typeface="Proxima Nov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IN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aracter</a:t>
                      </a:r>
                      <a:endParaRPr lang="en-IN" sz="1400">
                        <a:solidFill>
                          <a:srgbClr val="353744"/>
                        </a:solidFill>
                        <a:effectLst/>
                        <a:latin typeface="Arial" panose="020B0604020202020204" pitchFamily="34" charset="0"/>
                        <a:ea typeface="Proxima Nov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IN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ll Id of the impacted cells,usually a unique identifier and may not add value for our exercise. Shall be discarded</a:t>
                      </a:r>
                      <a:endParaRPr lang="en-IN" sz="1400">
                        <a:solidFill>
                          <a:srgbClr val="353744"/>
                        </a:solidFill>
                        <a:effectLst/>
                        <a:latin typeface="Arial" panose="020B0604020202020204" pitchFamily="34" charset="0"/>
                        <a:ea typeface="Proxima Nov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906567409"/>
                  </a:ext>
                </a:extLst>
              </a:tr>
              <a:tr h="403756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IN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 of days of KPI failure</a:t>
                      </a:r>
                      <a:endParaRPr lang="en-IN" sz="1400">
                        <a:solidFill>
                          <a:srgbClr val="353744"/>
                        </a:solidFill>
                        <a:effectLst/>
                        <a:latin typeface="Arial" panose="020B0604020202020204" pitchFamily="34" charset="0"/>
                        <a:ea typeface="Proxima Nov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IN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eric</a:t>
                      </a:r>
                      <a:endParaRPr lang="en-IN" sz="1400">
                        <a:solidFill>
                          <a:srgbClr val="353744"/>
                        </a:solidFill>
                        <a:effectLst/>
                        <a:latin typeface="Arial" panose="020B0604020202020204" pitchFamily="34" charset="0"/>
                        <a:ea typeface="Proxima Nov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IN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ys the KPI has failed(could be continuous)</a:t>
                      </a:r>
                      <a:endParaRPr lang="en-IN" sz="1400" dirty="0">
                        <a:solidFill>
                          <a:srgbClr val="353744"/>
                        </a:solidFill>
                        <a:effectLst/>
                        <a:latin typeface="Arial" panose="020B0604020202020204" pitchFamily="34" charset="0"/>
                        <a:ea typeface="Proxima Nov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207402785"/>
                  </a:ext>
                </a:extLst>
              </a:tr>
              <a:tr h="23510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IN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PI</a:t>
                      </a:r>
                      <a:endParaRPr lang="en-IN" sz="1400">
                        <a:solidFill>
                          <a:srgbClr val="353744"/>
                        </a:solidFill>
                        <a:effectLst/>
                        <a:latin typeface="Arial" panose="020B0604020202020204" pitchFamily="34" charset="0"/>
                        <a:ea typeface="Proxima Nov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IN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eric</a:t>
                      </a:r>
                      <a:endParaRPr lang="en-IN" sz="1400">
                        <a:solidFill>
                          <a:srgbClr val="353744"/>
                        </a:solidFill>
                        <a:effectLst/>
                        <a:latin typeface="Arial" panose="020B0604020202020204" pitchFamily="34" charset="0"/>
                        <a:ea typeface="Proxima Nov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IN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PI value</a:t>
                      </a:r>
                      <a:endParaRPr lang="en-IN" sz="1400">
                        <a:solidFill>
                          <a:srgbClr val="353744"/>
                        </a:solidFill>
                        <a:effectLst/>
                        <a:latin typeface="Arial" panose="020B0604020202020204" pitchFamily="34" charset="0"/>
                        <a:ea typeface="Proxima Nov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806824318"/>
                  </a:ext>
                </a:extLst>
              </a:tr>
              <a:tr h="23510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IN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M1</a:t>
                      </a:r>
                      <a:endParaRPr lang="en-IN" sz="1400">
                        <a:solidFill>
                          <a:srgbClr val="353744"/>
                        </a:solidFill>
                        <a:effectLst/>
                        <a:latin typeface="Arial" panose="020B0604020202020204" pitchFamily="34" charset="0"/>
                        <a:ea typeface="Proxima Nov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rowSpan="4"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IN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eric</a:t>
                      </a:r>
                      <a:endParaRPr lang="en-IN" sz="1400">
                        <a:solidFill>
                          <a:srgbClr val="353744"/>
                        </a:solidFill>
                        <a:effectLst/>
                        <a:latin typeface="Arial" panose="020B0604020202020204" pitchFamily="34" charset="0"/>
                        <a:ea typeface="Proxima Nov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rowSpan="4"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IN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formance measurement counters for the given cells during the measured period</a:t>
                      </a:r>
                      <a:endParaRPr lang="en-IN" sz="1400">
                        <a:solidFill>
                          <a:srgbClr val="353744"/>
                        </a:solidFill>
                        <a:effectLst/>
                        <a:latin typeface="Arial" panose="020B0604020202020204" pitchFamily="34" charset="0"/>
                        <a:ea typeface="Proxima Nov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899874070"/>
                  </a:ext>
                </a:extLst>
              </a:tr>
              <a:tr h="23510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IN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M2</a:t>
                      </a:r>
                      <a:endParaRPr lang="en-IN" sz="1400">
                        <a:solidFill>
                          <a:srgbClr val="353744"/>
                        </a:solidFill>
                        <a:effectLst/>
                        <a:latin typeface="Arial" panose="020B0604020202020204" pitchFamily="34" charset="0"/>
                        <a:ea typeface="Proxima Nov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0999866"/>
                  </a:ext>
                </a:extLst>
              </a:tr>
              <a:tr h="23510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IN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M3</a:t>
                      </a:r>
                      <a:endParaRPr lang="en-IN" sz="1400">
                        <a:solidFill>
                          <a:srgbClr val="353744"/>
                        </a:solidFill>
                        <a:effectLst/>
                        <a:latin typeface="Arial" panose="020B0604020202020204" pitchFamily="34" charset="0"/>
                        <a:ea typeface="Proxima Nov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2096249"/>
                  </a:ext>
                </a:extLst>
              </a:tr>
              <a:tr h="23510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IN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m4</a:t>
                      </a:r>
                      <a:endParaRPr lang="en-IN" sz="1400">
                        <a:solidFill>
                          <a:srgbClr val="353744"/>
                        </a:solidFill>
                        <a:effectLst/>
                        <a:latin typeface="Arial" panose="020B0604020202020204" pitchFamily="34" charset="0"/>
                        <a:ea typeface="Proxima Nov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8828357"/>
                  </a:ext>
                </a:extLst>
              </a:tr>
              <a:tr h="23510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IN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M1</a:t>
                      </a:r>
                      <a:endParaRPr lang="en-IN" sz="1400" dirty="0">
                        <a:solidFill>
                          <a:srgbClr val="353744"/>
                        </a:solidFill>
                        <a:effectLst/>
                        <a:latin typeface="Arial" panose="020B0604020202020204" pitchFamily="34" charset="0"/>
                        <a:ea typeface="Proxima Nov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rowSpan="4"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IN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ctor</a:t>
                      </a:r>
                      <a:endParaRPr lang="en-IN" sz="1400">
                        <a:solidFill>
                          <a:srgbClr val="353744"/>
                        </a:solidFill>
                        <a:effectLst/>
                        <a:latin typeface="Arial" panose="020B0604020202020204" pitchFamily="34" charset="0"/>
                        <a:ea typeface="Proxima Nov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rowSpan="4"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IN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figuration parameters with value ranging from 0 to 10</a:t>
                      </a:r>
                      <a:endParaRPr lang="en-IN" sz="1400">
                        <a:solidFill>
                          <a:srgbClr val="353744"/>
                        </a:solidFill>
                        <a:effectLst/>
                        <a:latin typeface="Arial" panose="020B0604020202020204" pitchFamily="34" charset="0"/>
                        <a:ea typeface="Proxima Nov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507505685"/>
                  </a:ext>
                </a:extLst>
              </a:tr>
              <a:tr h="23510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IN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M2</a:t>
                      </a:r>
                      <a:endParaRPr lang="en-IN" sz="1400" dirty="0">
                        <a:solidFill>
                          <a:srgbClr val="353744"/>
                        </a:solidFill>
                        <a:effectLst/>
                        <a:latin typeface="Arial" panose="020B0604020202020204" pitchFamily="34" charset="0"/>
                        <a:ea typeface="Proxima Nov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7047608"/>
                  </a:ext>
                </a:extLst>
              </a:tr>
              <a:tr h="23510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IN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M3</a:t>
                      </a:r>
                      <a:endParaRPr lang="en-IN" sz="1400">
                        <a:solidFill>
                          <a:srgbClr val="353744"/>
                        </a:solidFill>
                        <a:effectLst/>
                        <a:latin typeface="Arial" panose="020B0604020202020204" pitchFamily="34" charset="0"/>
                        <a:ea typeface="Proxima Nov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0294486"/>
                  </a:ext>
                </a:extLst>
              </a:tr>
              <a:tr h="23510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IN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M4</a:t>
                      </a:r>
                      <a:endParaRPr lang="en-IN" sz="1400" dirty="0">
                        <a:solidFill>
                          <a:srgbClr val="353744"/>
                        </a:solidFill>
                        <a:effectLst/>
                        <a:latin typeface="Arial" panose="020B0604020202020204" pitchFamily="34" charset="0"/>
                        <a:ea typeface="Proxima Nov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2128304"/>
                  </a:ext>
                </a:extLst>
              </a:tr>
              <a:tr h="23510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IN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1</a:t>
                      </a:r>
                      <a:endParaRPr lang="en-IN" sz="1400">
                        <a:solidFill>
                          <a:srgbClr val="353744"/>
                        </a:solidFill>
                        <a:effectLst/>
                        <a:latin typeface="Arial" panose="020B0604020202020204" pitchFamily="34" charset="0"/>
                        <a:ea typeface="Proxima Nov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IN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ctor</a:t>
                      </a:r>
                      <a:endParaRPr lang="en-IN" sz="1400">
                        <a:solidFill>
                          <a:srgbClr val="353744"/>
                        </a:solidFill>
                        <a:effectLst/>
                        <a:latin typeface="Arial" panose="020B0604020202020204" pitchFamily="34" charset="0"/>
                        <a:ea typeface="Proxima Nov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IN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arm number that is present in the given cells.Cells with no alarm number shall be assumed as alarm free(and tagged with value 0)</a:t>
                      </a:r>
                      <a:endParaRPr lang="en-IN" sz="1400">
                        <a:solidFill>
                          <a:srgbClr val="353744"/>
                        </a:solidFill>
                        <a:effectLst/>
                        <a:latin typeface="Arial" panose="020B0604020202020204" pitchFamily="34" charset="0"/>
                        <a:ea typeface="Proxima Nov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194191147"/>
                  </a:ext>
                </a:extLst>
              </a:tr>
              <a:tr h="448654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IN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2</a:t>
                      </a:r>
                      <a:endParaRPr lang="en-IN" sz="1400" dirty="0">
                        <a:solidFill>
                          <a:srgbClr val="353744"/>
                        </a:solidFill>
                        <a:effectLst/>
                        <a:latin typeface="Arial" panose="020B0604020202020204" pitchFamily="34" charset="0"/>
                        <a:ea typeface="Proxima Nov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449335"/>
                  </a:ext>
                </a:extLst>
              </a:tr>
              <a:tr h="45061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IN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marks</a:t>
                      </a:r>
                      <a:endParaRPr lang="en-IN" sz="1400">
                        <a:solidFill>
                          <a:srgbClr val="353744"/>
                        </a:solidFill>
                        <a:effectLst/>
                        <a:latin typeface="Arial" panose="020B0604020202020204" pitchFamily="34" charset="0"/>
                        <a:ea typeface="Proxima Nov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IN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ctor</a:t>
                      </a:r>
                      <a:endParaRPr lang="en-IN" sz="1400" dirty="0">
                        <a:solidFill>
                          <a:srgbClr val="353744"/>
                        </a:solidFill>
                        <a:effectLst/>
                        <a:latin typeface="Arial" panose="020B0604020202020204" pitchFamily="34" charset="0"/>
                        <a:ea typeface="Proxima Nov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n-IN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human understandable recommendation to fix the problem in the given cell. Has 7 possible scenarios</a:t>
                      </a:r>
                      <a:endParaRPr lang="en-IN" sz="1400" dirty="0">
                        <a:solidFill>
                          <a:srgbClr val="353744"/>
                        </a:solidFill>
                        <a:effectLst/>
                        <a:latin typeface="Arial" panose="020B0604020202020204" pitchFamily="34" charset="0"/>
                        <a:ea typeface="Proxima Nova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208405108"/>
                  </a:ext>
                </a:extLst>
              </a:tr>
            </a:tbl>
          </a:graphicData>
        </a:graphic>
      </p:graphicFrame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ABB7F91D-9FAF-4083-959E-C5F429284DE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05921109"/>
              </p:ext>
            </p:extLst>
          </p:nvPr>
        </p:nvGraphicFramePr>
        <p:xfrm>
          <a:off x="2672080" y="5482908"/>
          <a:ext cx="914400" cy="806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6" imgW="914400" imgH="806400" progId="Excel.Sheet.12">
                  <p:embed/>
                </p:oleObj>
              </mc:Choice>
              <mc:Fallback>
                <p:oleObj name="Worksheet" showAsIcon="1" r:id="rId6" imgW="914400" imgH="8064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672080" y="5482908"/>
                        <a:ext cx="914400" cy="806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C25100AD-C0EA-441A-9042-1A615646A2D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81022078"/>
              </p:ext>
            </p:extLst>
          </p:nvPr>
        </p:nvGraphicFramePr>
        <p:xfrm>
          <a:off x="3830320" y="5442268"/>
          <a:ext cx="914400" cy="806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8" imgW="914400" imgH="806400" progId="Excel.Sheet.12">
                  <p:embed/>
                </p:oleObj>
              </mc:Choice>
              <mc:Fallback>
                <p:oleObj name="Worksheet" showAsIcon="1" r:id="rId8" imgW="914400" imgH="8064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830320" y="5442268"/>
                        <a:ext cx="914400" cy="806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366007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B76FEC0-BE44-486F-B5E5-29F4422CE3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5152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73EB848-1380-4F85-B4A8-4DD42369D28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9CA9D8-77DA-4209-BA70-E7BA1FAF1B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des &amp; Approach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992101-4BA2-49E1-A4E8-3882C6AC75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asic cleanup of the data performed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nferences from the data derived(in a sense hypothesis looked at)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Used MLR &amp; Caret Package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andom Forest algorithm has better accuracy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Lets perform hands on to understand better</a:t>
            </a:r>
          </a:p>
          <a:p>
            <a:endParaRPr lang="en-IN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Graphic 6" descr="Head with gears">
            <a:extLst>
              <a:ext uri="{FF2B5EF4-FFF2-40B4-BE49-F238E27FC236}">
                <a16:creationId xmlns:a16="http://schemas.microsoft.com/office/drawing/2014/main" id="{BF32A088-B612-425F-B1AE-9F5B2931AF6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51440" y="350520"/>
            <a:ext cx="914400" cy="9144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5675E4F-55DF-4C16-B426-1CFF7BD5A40F}"/>
              </a:ext>
            </a:extLst>
          </p:cNvPr>
          <p:cNvSpPr txBox="1"/>
          <p:nvPr/>
        </p:nvSpPr>
        <p:spPr>
          <a:xfrm>
            <a:off x="3769360" y="5862320"/>
            <a:ext cx="4470400" cy="369332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0-20 Approach</a:t>
            </a:r>
            <a:endParaRPr lang="en-IN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4F4E998E-0A1D-4733-BF00-0F2B530459A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1829199"/>
              </p:ext>
            </p:extLst>
          </p:nvPr>
        </p:nvGraphicFramePr>
        <p:xfrm>
          <a:off x="4937760" y="4842828"/>
          <a:ext cx="914400" cy="806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ackager Shell Object" showAsIcon="1" r:id="rId8" imgW="914400" imgH="806400" progId="Package">
                  <p:embed/>
                </p:oleObj>
              </mc:Choice>
              <mc:Fallback>
                <p:oleObj name="Packager Shell Object" showAsIcon="1" r:id="rId8" imgW="914400" imgH="80640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937760" y="4842828"/>
                        <a:ext cx="914400" cy="806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846215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A4D9FEC-10B1-47B7-9251-7B372D1FAE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6988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9BA054B-2F7C-4588-95F3-01932D16714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333058-3431-42BD-9889-50FB6AEABF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the conclusion</a:t>
            </a:r>
            <a:endParaRPr lang="en-IN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04751DE-2E49-4CA8-93DE-687C8DF399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16847" y="986066"/>
            <a:ext cx="6281873" cy="524862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1.Whenever there is an AL value(AL1 or AL2) the KPI is degraded due to AL</a:t>
            </a:r>
          </a:p>
          <a:p>
            <a:endParaRPr lang="en-IN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IN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2.CM3 as a parameter has no impact on the KPIs as it has no variation in data</a:t>
            </a:r>
          </a:p>
          <a:p>
            <a:endParaRPr lang="en-IN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IN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3. CM1 and CM2 parameters appear identical and shall create multicollinearity in the model and so either one of them have to be removed</a:t>
            </a:r>
          </a:p>
          <a:p>
            <a:endParaRPr lang="en-IN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IN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4.Capacity addition is very much needed in the network as high number of cells KPIs are getting impacted due to “Capacity addition needed as PM3 is very high for a given CM1”</a:t>
            </a:r>
            <a:endParaRPr lang="en-IN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IN" sz="1200" dirty="0"/>
          </a:p>
        </p:txBody>
      </p:sp>
    </p:spTree>
    <p:extLst>
      <p:ext uri="{BB962C8B-B14F-4D97-AF65-F5344CB8AC3E}">
        <p14:creationId xmlns:p14="http://schemas.microsoft.com/office/powerpoint/2010/main" val="13823818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mkZBKRVy4fbkih1tk3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koOJq.9I0MbD33Yat6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Qi5sFd3gLJQ_DNdFIQ_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NXxyNfC4zrF._LanNJ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ENmEKv.wLPFn_FLQr.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vYx5efLyUip0Whwxqb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fzVLmmzpjEkwhje0a54Q"/>
</p:tagLst>
</file>

<file path=ppt/theme/theme1.xml><?xml version="1.0" encoding="utf-8"?>
<a:theme xmlns:a="http://schemas.openxmlformats.org/drawingml/2006/main" name="Atlas">
  <a:themeElements>
    <a:clrScheme name="Atlas">
      <a:dk1>
        <a:sysClr val="windowText" lastClr="000000"/>
      </a:dk1>
      <a:lt1>
        <a:sysClr val="window" lastClr="FFFFFF"/>
      </a:lt1>
      <a:dk2>
        <a:srgbClr val="454545"/>
      </a:dk2>
      <a:lt2>
        <a:srgbClr val="E0E0E0"/>
      </a:lt2>
      <a:accent1>
        <a:srgbClr val="10B6F4"/>
      </a:accent1>
      <a:accent2>
        <a:srgbClr val="3C78C3"/>
      </a:accent2>
      <a:accent3>
        <a:srgbClr val="9F52D0"/>
      </a:accent3>
      <a:accent4>
        <a:srgbClr val="D64198"/>
      </a:accent4>
      <a:accent5>
        <a:srgbClr val="DA2228"/>
      </a:accent5>
      <a:accent6>
        <a:srgbClr val="F18318"/>
      </a:accent6>
      <a:hlink>
        <a:srgbClr val="38DDEC"/>
      </a:hlink>
      <a:folHlink>
        <a:srgbClr val="A8DEE8"/>
      </a:folHlink>
    </a:clrScheme>
    <a:fontScheme name="Atlas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Rockwell" panose="020606030202050204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Atlas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alpha val="60000"/>
                <a:satMod val="109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4000"/>
                <a:satMod val="130000"/>
                <a:lumMod val="92000"/>
              </a:schemeClr>
            </a:gs>
            <a:gs pos="100000">
              <a:schemeClr val="phClr">
                <a:shade val="76000"/>
                <a:satMod val="130000"/>
                <a:lumMod val="88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>
              <a:shade val="90000"/>
            </a:schemeClr>
          </a:solidFill>
          <a:prstDash val="solid"/>
        </a:ln>
        <a:ln w="15875" cap="flat" cmpd="sng" algn="ctr">
          <a:solidFill>
            <a:schemeClr val="phClr">
              <a:shade val="9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5400" dir="5400000" rotWithShape="0">
              <a:srgbClr val="000000">
                <a:alpha val="7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>
            <a:bevelT w="0" h="0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10000">
              <a:schemeClr val="phClr">
                <a:tint val="94000"/>
                <a:lumMod val="116000"/>
              </a:schemeClr>
            </a:gs>
            <a:gs pos="100000">
              <a:schemeClr val="phClr">
                <a:tint val="98000"/>
                <a:shade val="86000"/>
                <a:satMod val="90000"/>
                <a:lumMod val="88000"/>
              </a:schemeClr>
            </a:gs>
          </a:gsLst>
          <a:path path="circle">
            <a:fillToRect l="50000" t="15000" r="50000" b="169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tlas" id="{5156B0E4-0EB1-49FE-A26B-15F6F698AEC6}" vid="{C0CB9708-C445-4049-9D7F-4C8684E69AF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16401371[[fn=Atlas]]</Template>
  <TotalTime>1096</TotalTime>
  <Words>393</Words>
  <Application>Microsoft Office PowerPoint</Application>
  <PresentationFormat>Widescreen</PresentationFormat>
  <Paragraphs>60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Calibri Light</vt:lpstr>
      <vt:lpstr>Rockwell</vt:lpstr>
      <vt:lpstr>Wingdings</vt:lpstr>
      <vt:lpstr>Atlas</vt:lpstr>
      <vt:lpstr>think-cell Slide</vt:lpstr>
      <vt:lpstr>Worksheet</vt:lpstr>
      <vt:lpstr>Package</vt:lpstr>
      <vt:lpstr>Telecom Network Analytics</vt:lpstr>
      <vt:lpstr>Problem Statement</vt:lpstr>
      <vt:lpstr>Data at hand</vt:lpstr>
      <vt:lpstr>Dataset explained</vt:lpstr>
      <vt:lpstr>Codes &amp; Approach</vt:lpstr>
      <vt:lpstr>What is the conclus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lecom Network Analytics</dc:title>
  <dc:creator>Rajesh</dc:creator>
  <cp:lastModifiedBy>Kumar Sundram</cp:lastModifiedBy>
  <cp:revision>14</cp:revision>
  <dcterms:created xsi:type="dcterms:W3CDTF">2020-03-30T12:30:47Z</dcterms:created>
  <dcterms:modified xsi:type="dcterms:W3CDTF">2023-04-07T12:18:43Z</dcterms:modified>
</cp:coreProperties>
</file>